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3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4.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5.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4"/>
    <p:sldMasterId id="2147483810" r:id="rId15"/>
  </p:sldMasterIdLst>
  <p:notesMasterIdLst>
    <p:notesMasterId r:id="rId81"/>
  </p:notesMasterIdLst>
  <p:handoutMasterIdLst>
    <p:handoutMasterId r:id="rId82"/>
  </p:handoutMasterIdLst>
  <p:sldIdLst>
    <p:sldId id="260" r:id="rId16"/>
    <p:sldId id="1550" r:id="rId17"/>
    <p:sldId id="562" r:id="rId18"/>
    <p:sldId id="561" r:id="rId19"/>
    <p:sldId id="534" r:id="rId20"/>
    <p:sldId id="624" r:id="rId21"/>
    <p:sldId id="581" r:id="rId22"/>
    <p:sldId id="617" r:id="rId23"/>
    <p:sldId id="618" r:id="rId24"/>
    <p:sldId id="620" r:id="rId25"/>
    <p:sldId id="615" r:id="rId26"/>
    <p:sldId id="614" r:id="rId27"/>
    <p:sldId id="613" r:id="rId28"/>
    <p:sldId id="625" r:id="rId29"/>
    <p:sldId id="582" r:id="rId30"/>
    <p:sldId id="653" r:id="rId31"/>
    <p:sldId id="1676" r:id="rId32"/>
    <p:sldId id="531" r:id="rId33"/>
    <p:sldId id="560" r:id="rId34"/>
    <p:sldId id="563" r:id="rId35"/>
    <p:sldId id="564" r:id="rId36"/>
    <p:sldId id="565" r:id="rId37"/>
    <p:sldId id="1508" r:id="rId38"/>
    <p:sldId id="1638" r:id="rId39"/>
    <p:sldId id="2147470542" r:id="rId40"/>
    <p:sldId id="2103813177" r:id="rId41"/>
    <p:sldId id="1621" r:id="rId42"/>
    <p:sldId id="1649" r:id="rId43"/>
    <p:sldId id="1641" r:id="rId44"/>
    <p:sldId id="1642" r:id="rId45"/>
    <p:sldId id="1643" r:id="rId46"/>
    <p:sldId id="1646" r:id="rId47"/>
    <p:sldId id="1645" r:id="rId48"/>
    <p:sldId id="1648" r:id="rId49"/>
    <p:sldId id="1651" r:id="rId50"/>
    <p:sldId id="1650" r:id="rId51"/>
    <p:sldId id="1652" r:id="rId52"/>
    <p:sldId id="1653" r:id="rId53"/>
    <p:sldId id="2103813178" r:id="rId54"/>
    <p:sldId id="594" r:id="rId55"/>
    <p:sldId id="1660" r:id="rId56"/>
    <p:sldId id="1537" r:id="rId57"/>
    <p:sldId id="1538" r:id="rId58"/>
    <p:sldId id="1663" r:id="rId59"/>
    <p:sldId id="593" r:id="rId60"/>
    <p:sldId id="2103813184" r:id="rId61"/>
    <p:sldId id="265" r:id="rId62"/>
    <p:sldId id="2103813185" r:id="rId63"/>
    <p:sldId id="2103813192" r:id="rId64"/>
    <p:sldId id="2103813190" r:id="rId65"/>
    <p:sldId id="645" r:id="rId66"/>
    <p:sldId id="576" r:id="rId67"/>
    <p:sldId id="577" r:id="rId68"/>
    <p:sldId id="2147470539" r:id="rId69"/>
    <p:sldId id="2147470536" r:id="rId70"/>
    <p:sldId id="2147470537" r:id="rId71"/>
    <p:sldId id="2103813336" r:id="rId72"/>
    <p:sldId id="2147470517" r:id="rId73"/>
    <p:sldId id="1672" r:id="rId74"/>
    <p:sldId id="2147470538" r:id="rId75"/>
    <p:sldId id="2147470502" r:id="rId76"/>
    <p:sldId id="2147470503" r:id="rId77"/>
    <p:sldId id="2147470501" r:id="rId78"/>
    <p:sldId id="2147470540" r:id="rId79"/>
    <p:sldId id="259" r:id="rId80"/>
  </p:sldIdLst>
  <p:sldSz cx="12192000" cy="6858000"/>
  <p:notesSz cx="6858000" cy="1666875"/>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1550"/>
            <p14:sldId id="562"/>
          </p14:sldIdLst>
        </p14:section>
        <p14:section name="Lesson 1: SQL Server Plan Cache" id="{25ADF4C8-2200-4410-9F45-B05F5BA6D4E6}">
          <p14:sldIdLst>
            <p14:sldId id="561"/>
            <p14:sldId id="534"/>
            <p14:sldId id="624"/>
            <p14:sldId id="581"/>
            <p14:sldId id="617"/>
            <p14:sldId id="618"/>
            <p14:sldId id="620"/>
            <p14:sldId id="615"/>
            <p14:sldId id="614"/>
            <p14:sldId id="613"/>
            <p14:sldId id="625"/>
            <p14:sldId id="582"/>
            <p14:sldId id="653"/>
            <p14:sldId id="1676"/>
            <p14:sldId id="531"/>
            <p14:sldId id="560"/>
            <p14:sldId id="563"/>
          </p14:sldIdLst>
        </p14:section>
        <p14:section name="Lesson 2: SQL Server Query Store" id="{6F639A05-2893-48A9-A600-6681E43668C4}">
          <p14:sldIdLst>
            <p14:sldId id="564"/>
            <p14:sldId id="565"/>
            <p14:sldId id="1508"/>
            <p14:sldId id="1638"/>
            <p14:sldId id="2147470542"/>
            <p14:sldId id="2103813177"/>
            <p14:sldId id="1621"/>
            <p14:sldId id="1649"/>
            <p14:sldId id="1641"/>
            <p14:sldId id="1642"/>
            <p14:sldId id="1643"/>
            <p14:sldId id="1646"/>
            <p14:sldId id="1645"/>
            <p14:sldId id="1648"/>
            <p14:sldId id="1651"/>
            <p14:sldId id="1650"/>
            <p14:sldId id="1652"/>
            <p14:sldId id="1653"/>
            <p14:sldId id="2103813178"/>
            <p14:sldId id="594"/>
            <p14:sldId id="1660"/>
            <p14:sldId id="1537"/>
            <p14:sldId id="1538"/>
            <p14:sldId id="1663"/>
            <p14:sldId id="593"/>
            <p14:sldId id="2103813184"/>
            <p14:sldId id="265"/>
            <p14:sldId id="2103813185"/>
            <p14:sldId id="2103813192"/>
            <p14:sldId id="2103813190"/>
            <p14:sldId id="645"/>
            <p14:sldId id="576"/>
            <p14:sldId id="577"/>
            <p14:sldId id="2147470539"/>
          </p14:sldIdLst>
        </p14:section>
        <p14:section name="Lesson 3: SQL Server Intelligent Query Processing" id="{947C75FF-CD46-4F3A-B584-93B95217DC53}">
          <p14:sldIdLst>
            <p14:sldId id="2147470536"/>
            <p14:sldId id="2147470537"/>
            <p14:sldId id="2103813336"/>
            <p14:sldId id="2147470517"/>
            <p14:sldId id="1672"/>
            <p14:sldId id="2147470538"/>
            <p14:sldId id="2147470502"/>
            <p14:sldId id="2147470503"/>
            <p14:sldId id="2147470501"/>
            <p14:sldId id="2147470540"/>
            <p14:sldId id="259"/>
          </p14:sldIdLst>
        </p14:section>
        <p14:section name="End" id="{A9B956E0-6347-48E3-8051-4871C83A886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4BC4"/>
    <a:srgbClr val="D1DBD1"/>
    <a:srgbClr val="107C10"/>
    <a:srgbClr val="8661C5"/>
    <a:srgbClr val="356EBE"/>
    <a:srgbClr val="2A97AF"/>
    <a:srgbClr val="20A085"/>
    <a:srgbClr val="178E46"/>
    <a:srgbClr val="008575"/>
    <a:srgbClr val="D0DA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309" autoAdjust="0"/>
    <p:restoredTop sz="68856" autoAdjust="0"/>
  </p:normalViewPr>
  <p:slideViewPr>
    <p:cSldViewPr snapToGrid="0">
      <p:cViewPr varScale="1">
        <p:scale>
          <a:sx n="61" d="100"/>
          <a:sy n="61" d="100"/>
        </p:scale>
        <p:origin x="1186" y="43"/>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commentAuthors" Target="commentAuthors.xml"/><Relationship Id="rId89" Type="http://schemas.microsoft.com/office/2016/11/relationships/changesInfo" Target="changesInfos/changesInfo1.xml"/><Relationship Id="rId16" Type="http://schemas.openxmlformats.org/officeDocument/2006/relationships/slide" Target="slides/slide1.xml"/><Relationship Id="rId11" Type="http://schemas.openxmlformats.org/officeDocument/2006/relationships/customXml" Target="../customXml/item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5" Type="http://schemas.openxmlformats.org/officeDocument/2006/relationships/customXml" Target="../customXml/item5.xml"/><Relationship Id="rId14" Type="http://schemas.openxmlformats.org/officeDocument/2006/relationships/slideMaster" Target="slideMasters/slideMaster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customXml" Target="../customXml/item8.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customXml" Target="../customXml/item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notesMaster" Target="notesMasters/notesMaster1.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7" Type="http://schemas.openxmlformats.org/officeDocument/2006/relationships/customXml" Target="../customXml/item7.xml"/><Relationship Id="rId71" Type="http://schemas.openxmlformats.org/officeDocument/2006/relationships/slide" Target="slides/slide56.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theme" Target="theme/theme1.xml"/><Relationship Id="rId61" Type="http://schemas.openxmlformats.org/officeDocument/2006/relationships/slide" Target="slides/slide46.xml"/><Relationship Id="rId82" Type="http://schemas.openxmlformats.org/officeDocument/2006/relationships/handoutMaster" Target="handoutMasters/handoutMaster1.xml"/><Relationship Id="rId1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606C8056-BEA3-4BC1-B617-473143A50722}"/>
    <pc:docChg chg="">
      <pc:chgData name="John Deardurff" userId="a22eae058e899168" providerId="LiveId" clId="{606C8056-BEA3-4BC1-B617-473143A50722}" dt="2024-01-20T11:13:55.613" v="78" actId="2696"/>
      <pc:docMkLst>
        <pc:docMk/>
      </pc:docMkLst>
      <pc:sldMasterChg chg="delSldLayout">
        <pc:chgData name="John Deardurff" userId="a22eae058e899168" providerId="LiveId" clId="{606C8056-BEA3-4BC1-B617-473143A50722}" dt="2024-01-20T11:13:55.613" v="78" actId="2696"/>
        <pc:sldMasterMkLst>
          <pc:docMk/>
          <pc:sldMasterMk cId="334216960" sldId="2147483759"/>
        </pc:sldMasterMkLst>
        <pc:sldLayoutChg chg="del">
          <pc:chgData name="John Deardurff" userId="a22eae058e899168" providerId="LiveId" clId="{606C8056-BEA3-4BC1-B617-473143A50722}" dt="2024-01-20T11:13:19.314" v="45" actId="2696"/>
          <pc:sldLayoutMkLst>
            <pc:docMk/>
            <pc:sldMasterMk cId="334216960" sldId="2147483759"/>
            <pc:sldLayoutMk cId="2547929434" sldId="2147483707"/>
          </pc:sldLayoutMkLst>
        </pc:sldLayoutChg>
        <pc:sldLayoutChg chg="del">
          <pc:chgData name="John Deardurff" userId="a22eae058e899168" providerId="LiveId" clId="{606C8056-BEA3-4BC1-B617-473143A50722}" dt="2024-01-20T11:13:19.649" v="46" actId="2696"/>
          <pc:sldLayoutMkLst>
            <pc:docMk/>
            <pc:sldMasterMk cId="334216960" sldId="2147483759"/>
            <pc:sldLayoutMk cId="546842594" sldId="2147483708"/>
          </pc:sldLayoutMkLst>
        </pc:sldLayoutChg>
        <pc:sldLayoutChg chg="del">
          <pc:chgData name="John Deardurff" userId="a22eae058e899168" providerId="LiveId" clId="{606C8056-BEA3-4BC1-B617-473143A50722}" dt="2024-01-20T11:13:17.788" v="44" actId="2696"/>
          <pc:sldLayoutMkLst>
            <pc:docMk/>
            <pc:sldMasterMk cId="334216960" sldId="2147483759"/>
            <pc:sldLayoutMk cId="1212049326" sldId="2147483727"/>
          </pc:sldLayoutMkLst>
        </pc:sldLayoutChg>
        <pc:sldLayoutChg chg="del">
          <pc:chgData name="John Deardurff" userId="a22eae058e899168" providerId="LiveId" clId="{606C8056-BEA3-4BC1-B617-473143A50722}" dt="2024-01-20T11:13:20.031" v="47" actId="2696"/>
          <pc:sldLayoutMkLst>
            <pc:docMk/>
            <pc:sldMasterMk cId="334216960" sldId="2147483759"/>
            <pc:sldLayoutMk cId="2196899194" sldId="2147483737"/>
          </pc:sldLayoutMkLst>
        </pc:sldLayoutChg>
        <pc:sldLayoutChg chg="del">
          <pc:chgData name="John Deardurff" userId="a22eae058e899168" providerId="LiveId" clId="{606C8056-BEA3-4BC1-B617-473143A50722}" dt="2024-01-20T11:13:28.763" v="48" actId="2696"/>
          <pc:sldLayoutMkLst>
            <pc:docMk/>
            <pc:sldMasterMk cId="334216960" sldId="2147483759"/>
            <pc:sldLayoutMk cId="1399967323" sldId="2147483760"/>
          </pc:sldLayoutMkLst>
        </pc:sldLayoutChg>
        <pc:sldLayoutChg chg="del">
          <pc:chgData name="John Deardurff" userId="a22eae058e899168" providerId="LiveId" clId="{606C8056-BEA3-4BC1-B617-473143A50722}" dt="2024-01-20T11:13:29.254" v="49" actId="2696"/>
          <pc:sldLayoutMkLst>
            <pc:docMk/>
            <pc:sldMasterMk cId="334216960" sldId="2147483759"/>
            <pc:sldLayoutMk cId="2326827979" sldId="2147483761"/>
          </pc:sldLayoutMkLst>
        </pc:sldLayoutChg>
        <pc:sldLayoutChg chg="del">
          <pc:chgData name="John Deardurff" userId="a22eae058e899168" providerId="LiveId" clId="{606C8056-BEA3-4BC1-B617-473143A50722}" dt="2024-01-20T11:13:29.625" v="50" actId="2696"/>
          <pc:sldLayoutMkLst>
            <pc:docMk/>
            <pc:sldMasterMk cId="334216960" sldId="2147483759"/>
            <pc:sldLayoutMk cId="4137287007" sldId="2147483762"/>
          </pc:sldLayoutMkLst>
        </pc:sldLayoutChg>
        <pc:sldLayoutChg chg="del">
          <pc:chgData name="John Deardurff" userId="a22eae058e899168" providerId="LiveId" clId="{606C8056-BEA3-4BC1-B617-473143A50722}" dt="2024-01-20T11:13:30.215" v="51" actId="2696"/>
          <pc:sldLayoutMkLst>
            <pc:docMk/>
            <pc:sldMasterMk cId="334216960" sldId="2147483759"/>
            <pc:sldLayoutMk cId="1776111114" sldId="2147483763"/>
          </pc:sldLayoutMkLst>
        </pc:sldLayoutChg>
        <pc:sldLayoutChg chg="del">
          <pc:chgData name="John Deardurff" userId="a22eae058e899168" providerId="LiveId" clId="{606C8056-BEA3-4BC1-B617-473143A50722}" dt="2024-01-20T11:13:31.891" v="52" actId="2696"/>
          <pc:sldLayoutMkLst>
            <pc:docMk/>
            <pc:sldMasterMk cId="334216960" sldId="2147483759"/>
            <pc:sldLayoutMk cId="2532082308" sldId="2147483765"/>
          </pc:sldLayoutMkLst>
        </pc:sldLayoutChg>
        <pc:sldLayoutChg chg="del">
          <pc:chgData name="John Deardurff" userId="a22eae058e899168" providerId="LiveId" clId="{606C8056-BEA3-4BC1-B617-473143A50722}" dt="2024-01-20T11:13:32.360" v="53" actId="2696"/>
          <pc:sldLayoutMkLst>
            <pc:docMk/>
            <pc:sldMasterMk cId="334216960" sldId="2147483759"/>
            <pc:sldLayoutMk cId="3942083877" sldId="2147483766"/>
          </pc:sldLayoutMkLst>
        </pc:sldLayoutChg>
        <pc:sldLayoutChg chg="del">
          <pc:chgData name="John Deardurff" userId="a22eae058e899168" providerId="LiveId" clId="{606C8056-BEA3-4BC1-B617-473143A50722}" dt="2024-01-20T11:13:36.881" v="54" actId="2696"/>
          <pc:sldLayoutMkLst>
            <pc:docMk/>
            <pc:sldMasterMk cId="334216960" sldId="2147483759"/>
            <pc:sldLayoutMk cId="3801199502" sldId="2147483770"/>
          </pc:sldLayoutMkLst>
        </pc:sldLayoutChg>
        <pc:sldLayoutChg chg="del">
          <pc:chgData name="John Deardurff" userId="a22eae058e899168" providerId="LiveId" clId="{606C8056-BEA3-4BC1-B617-473143A50722}" dt="2024-01-20T11:13:38.923" v="55" actId="2696"/>
          <pc:sldLayoutMkLst>
            <pc:docMk/>
            <pc:sldMasterMk cId="334216960" sldId="2147483759"/>
            <pc:sldLayoutMk cId="1952643745" sldId="2147483772"/>
          </pc:sldLayoutMkLst>
        </pc:sldLayoutChg>
        <pc:sldLayoutChg chg="del">
          <pc:chgData name="John Deardurff" userId="a22eae058e899168" providerId="LiveId" clId="{606C8056-BEA3-4BC1-B617-473143A50722}" dt="2024-01-20T11:13:40.538" v="56" actId="2696"/>
          <pc:sldLayoutMkLst>
            <pc:docMk/>
            <pc:sldMasterMk cId="334216960" sldId="2147483759"/>
            <pc:sldLayoutMk cId="852992040" sldId="2147483774"/>
          </pc:sldLayoutMkLst>
        </pc:sldLayoutChg>
        <pc:sldLayoutChg chg="del">
          <pc:chgData name="John Deardurff" userId="a22eae058e899168" providerId="LiveId" clId="{606C8056-BEA3-4BC1-B617-473143A50722}" dt="2024-01-20T11:13:42.593" v="57" actId="2696"/>
          <pc:sldLayoutMkLst>
            <pc:docMk/>
            <pc:sldMasterMk cId="334216960" sldId="2147483759"/>
            <pc:sldLayoutMk cId="4103384416" sldId="2147483776"/>
          </pc:sldLayoutMkLst>
        </pc:sldLayoutChg>
        <pc:sldLayoutChg chg="del">
          <pc:chgData name="John Deardurff" userId="a22eae058e899168" providerId="LiveId" clId="{606C8056-BEA3-4BC1-B617-473143A50722}" dt="2024-01-20T11:13:43.097" v="58" actId="2696"/>
          <pc:sldLayoutMkLst>
            <pc:docMk/>
            <pc:sldMasterMk cId="334216960" sldId="2147483759"/>
            <pc:sldLayoutMk cId="1270816338" sldId="2147483777"/>
          </pc:sldLayoutMkLst>
        </pc:sldLayoutChg>
        <pc:sldLayoutChg chg="del">
          <pc:chgData name="John Deardurff" userId="a22eae058e899168" providerId="LiveId" clId="{606C8056-BEA3-4BC1-B617-473143A50722}" dt="2024-01-20T11:13:43.631" v="59" actId="2696"/>
          <pc:sldLayoutMkLst>
            <pc:docMk/>
            <pc:sldMasterMk cId="334216960" sldId="2147483759"/>
            <pc:sldLayoutMk cId="559202374" sldId="2147483778"/>
          </pc:sldLayoutMkLst>
        </pc:sldLayoutChg>
        <pc:sldLayoutChg chg="del">
          <pc:chgData name="John Deardurff" userId="a22eae058e899168" providerId="LiveId" clId="{606C8056-BEA3-4BC1-B617-473143A50722}" dt="2024-01-20T11:13:45.186" v="60" actId="2696"/>
          <pc:sldLayoutMkLst>
            <pc:docMk/>
            <pc:sldMasterMk cId="334216960" sldId="2147483759"/>
            <pc:sldLayoutMk cId="2623748404" sldId="2147483780"/>
          </pc:sldLayoutMkLst>
        </pc:sldLayoutChg>
        <pc:sldLayoutChg chg="del">
          <pc:chgData name="John Deardurff" userId="a22eae058e899168" providerId="LiveId" clId="{606C8056-BEA3-4BC1-B617-473143A50722}" dt="2024-01-20T11:13:45.677" v="61" actId="2696"/>
          <pc:sldLayoutMkLst>
            <pc:docMk/>
            <pc:sldMasterMk cId="334216960" sldId="2147483759"/>
            <pc:sldLayoutMk cId="644632207" sldId="2147483781"/>
          </pc:sldLayoutMkLst>
        </pc:sldLayoutChg>
        <pc:sldLayoutChg chg="del">
          <pc:chgData name="John Deardurff" userId="a22eae058e899168" providerId="LiveId" clId="{606C8056-BEA3-4BC1-B617-473143A50722}" dt="2024-01-20T11:13:46.105" v="62" actId="2696"/>
          <pc:sldLayoutMkLst>
            <pc:docMk/>
            <pc:sldMasterMk cId="334216960" sldId="2147483759"/>
            <pc:sldLayoutMk cId="2694629630" sldId="2147483782"/>
          </pc:sldLayoutMkLst>
        </pc:sldLayoutChg>
        <pc:sldLayoutChg chg="del">
          <pc:chgData name="John Deardurff" userId="a22eae058e899168" providerId="LiveId" clId="{606C8056-BEA3-4BC1-B617-473143A50722}" dt="2024-01-20T11:13:49.479" v="63" actId="2696"/>
          <pc:sldLayoutMkLst>
            <pc:docMk/>
            <pc:sldMasterMk cId="334216960" sldId="2147483759"/>
            <pc:sldLayoutMk cId="1646552889" sldId="2147483784"/>
          </pc:sldLayoutMkLst>
        </pc:sldLayoutChg>
        <pc:sldLayoutChg chg="del">
          <pc:chgData name="John Deardurff" userId="a22eae058e899168" providerId="LiveId" clId="{606C8056-BEA3-4BC1-B617-473143A50722}" dt="2024-01-20T11:13:50.029" v="64" actId="2696"/>
          <pc:sldLayoutMkLst>
            <pc:docMk/>
            <pc:sldMasterMk cId="334216960" sldId="2147483759"/>
            <pc:sldLayoutMk cId="3717712819" sldId="2147483785"/>
          </pc:sldLayoutMkLst>
        </pc:sldLayoutChg>
        <pc:sldLayoutChg chg="del">
          <pc:chgData name="John Deardurff" userId="a22eae058e899168" providerId="LiveId" clId="{606C8056-BEA3-4BC1-B617-473143A50722}" dt="2024-01-20T11:13:50.423" v="65" actId="2696"/>
          <pc:sldLayoutMkLst>
            <pc:docMk/>
            <pc:sldMasterMk cId="334216960" sldId="2147483759"/>
            <pc:sldLayoutMk cId="356836937" sldId="2147483786"/>
          </pc:sldLayoutMkLst>
        </pc:sldLayoutChg>
        <pc:sldLayoutChg chg="del">
          <pc:chgData name="John Deardurff" userId="a22eae058e899168" providerId="LiveId" clId="{606C8056-BEA3-4BC1-B617-473143A50722}" dt="2024-01-20T11:13:50.809" v="66" actId="2696"/>
          <pc:sldLayoutMkLst>
            <pc:docMk/>
            <pc:sldMasterMk cId="334216960" sldId="2147483759"/>
            <pc:sldLayoutMk cId="246202538" sldId="2147483787"/>
          </pc:sldLayoutMkLst>
        </pc:sldLayoutChg>
        <pc:sldLayoutChg chg="del">
          <pc:chgData name="John Deardurff" userId="a22eae058e899168" providerId="LiveId" clId="{606C8056-BEA3-4BC1-B617-473143A50722}" dt="2024-01-20T11:13:51.109" v="67" actId="2696"/>
          <pc:sldLayoutMkLst>
            <pc:docMk/>
            <pc:sldMasterMk cId="334216960" sldId="2147483759"/>
            <pc:sldLayoutMk cId="3227644519" sldId="2147483788"/>
          </pc:sldLayoutMkLst>
        </pc:sldLayoutChg>
        <pc:sldLayoutChg chg="del">
          <pc:chgData name="John Deardurff" userId="a22eae058e899168" providerId="LiveId" clId="{606C8056-BEA3-4BC1-B617-473143A50722}" dt="2024-01-20T11:13:51.384" v="68" actId="2696"/>
          <pc:sldLayoutMkLst>
            <pc:docMk/>
            <pc:sldMasterMk cId="334216960" sldId="2147483759"/>
            <pc:sldLayoutMk cId="1511374748" sldId="2147483789"/>
          </pc:sldLayoutMkLst>
        </pc:sldLayoutChg>
        <pc:sldLayoutChg chg="del">
          <pc:chgData name="John Deardurff" userId="a22eae058e899168" providerId="LiveId" clId="{606C8056-BEA3-4BC1-B617-473143A50722}" dt="2024-01-20T11:13:51.643" v="69" actId="2696"/>
          <pc:sldLayoutMkLst>
            <pc:docMk/>
            <pc:sldMasterMk cId="334216960" sldId="2147483759"/>
            <pc:sldLayoutMk cId="3354010036" sldId="2147483790"/>
          </pc:sldLayoutMkLst>
        </pc:sldLayoutChg>
        <pc:sldLayoutChg chg="del">
          <pc:chgData name="John Deardurff" userId="a22eae058e899168" providerId="LiveId" clId="{606C8056-BEA3-4BC1-B617-473143A50722}" dt="2024-01-20T11:13:51.862" v="70" actId="2696"/>
          <pc:sldLayoutMkLst>
            <pc:docMk/>
            <pc:sldMasterMk cId="334216960" sldId="2147483759"/>
            <pc:sldLayoutMk cId="1816639069" sldId="2147483791"/>
          </pc:sldLayoutMkLst>
        </pc:sldLayoutChg>
        <pc:sldLayoutChg chg="del">
          <pc:chgData name="John Deardurff" userId="a22eae058e899168" providerId="LiveId" clId="{606C8056-BEA3-4BC1-B617-473143A50722}" dt="2024-01-20T11:13:52.083" v="71" actId="2696"/>
          <pc:sldLayoutMkLst>
            <pc:docMk/>
            <pc:sldMasterMk cId="334216960" sldId="2147483759"/>
            <pc:sldLayoutMk cId="4026577404" sldId="2147483792"/>
          </pc:sldLayoutMkLst>
        </pc:sldLayoutChg>
        <pc:sldLayoutChg chg="del">
          <pc:chgData name="John Deardurff" userId="a22eae058e899168" providerId="LiveId" clId="{606C8056-BEA3-4BC1-B617-473143A50722}" dt="2024-01-20T11:13:52.339" v="72" actId="2696"/>
          <pc:sldLayoutMkLst>
            <pc:docMk/>
            <pc:sldMasterMk cId="334216960" sldId="2147483759"/>
            <pc:sldLayoutMk cId="2219298527" sldId="2147483793"/>
          </pc:sldLayoutMkLst>
        </pc:sldLayoutChg>
        <pc:sldLayoutChg chg="del">
          <pc:chgData name="John Deardurff" userId="a22eae058e899168" providerId="LiveId" clId="{606C8056-BEA3-4BC1-B617-473143A50722}" dt="2024-01-20T11:13:52.581" v="73" actId="2696"/>
          <pc:sldLayoutMkLst>
            <pc:docMk/>
            <pc:sldMasterMk cId="334216960" sldId="2147483759"/>
            <pc:sldLayoutMk cId="3635877065" sldId="2147483794"/>
          </pc:sldLayoutMkLst>
        </pc:sldLayoutChg>
        <pc:sldLayoutChg chg="del">
          <pc:chgData name="John Deardurff" userId="a22eae058e899168" providerId="LiveId" clId="{606C8056-BEA3-4BC1-B617-473143A50722}" dt="2024-01-20T11:13:54.060" v="74" actId="2696"/>
          <pc:sldLayoutMkLst>
            <pc:docMk/>
            <pc:sldMasterMk cId="334216960" sldId="2147483759"/>
            <pc:sldLayoutMk cId="1162983640" sldId="2147483796"/>
          </pc:sldLayoutMkLst>
        </pc:sldLayoutChg>
        <pc:sldLayoutChg chg="del">
          <pc:chgData name="John Deardurff" userId="a22eae058e899168" providerId="LiveId" clId="{606C8056-BEA3-4BC1-B617-473143A50722}" dt="2024-01-20T11:13:54.608" v="75" actId="2696"/>
          <pc:sldLayoutMkLst>
            <pc:docMk/>
            <pc:sldMasterMk cId="334216960" sldId="2147483759"/>
            <pc:sldLayoutMk cId="3531692536" sldId="2147483797"/>
          </pc:sldLayoutMkLst>
        </pc:sldLayoutChg>
        <pc:sldLayoutChg chg="del">
          <pc:chgData name="John Deardurff" userId="a22eae058e899168" providerId="LiveId" clId="{606C8056-BEA3-4BC1-B617-473143A50722}" dt="2024-01-20T11:13:54.914" v="76" actId="2696"/>
          <pc:sldLayoutMkLst>
            <pc:docMk/>
            <pc:sldMasterMk cId="334216960" sldId="2147483759"/>
            <pc:sldLayoutMk cId="2202584316" sldId="2147483798"/>
          </pc:sldLayoutMkLst>
        </pc:sldLayoutChg>
        <pc:sldLayoutChg chg="del">
          <pc:chgData name="John Deardurff" userId="a22eae058e899168" providerId="LiveId" clId="{606C8056-BEA3-4BC1-B617-473143A50722}" dt="2024-01-20T11:13:55.219" v="77" actId="2696"/>
          <pc:sldLayoutMkLst>
            <pc:docMk/>
            <pc:sldMasterMk cId="334216960" sldId="2147483759"/>
            <pc:sldLayoutMk cId="2464520153" sldId="2147483799"/>
          </pc:sldLayoutMkLst>
        </pc:sldLayoutChg>
        <pc:sldLayoutChg chg="del">
          <pc:chgData name="John Deardurff" userId="a22eae058e899168" providerId="LiveId" clId="{606C8056-BEA3-4BC1-B617-473143A50722}" dt="2024-01-20T11:13:55.613" v="78" actId="2696"/>
          <pc:sldLayoutMkLst>
            <pc:docMk/>
            <pc:sldMasterMk cId="334216960" sldId="2147483759"/>
            <pc:sldLayoutMk cId="2994689298" sldId="2147483800"/>
          </pc:sldLayoutMkLst>
        </pc:sldLayoutChg>
      </pc:sldMasterChg>
      <pc:sldMasterChg chg="delSldLayout">
        <pc:chgData name="John Deardurff" userId="a22eae058e899168" providerId="LiveId" clId="{606C8056-BEA3-4BC1-B617-473143A50722}" dt="2024-01-20T11:13:14.327" v="43" actId="2696"/>
        <pc:sldMasterMkLst>
          <pc:docMk/>
          <pc:sldMasterMk cId="3415699054" sldId="2147483810"/>
        </pc:sldMasterMkLst>
        <pc:sldLayoutChg chg="del">
          <pc:chgData name="John Deardurff" userId="a22eae058e899168" providerId="LiveId" clId="{606C8056-BEA3-4BC1-B617-473143A50722}" dt="2024-01-20T11:13:14.327" v="43" actId="2696"/>
          <pc:sldLayoutMkLst>
            <pc:docMk/>
            <pc:sldMasterMk cId="3415699054" sldId="2147483810"/>
            <pc:sldLayoutMk cId="856424468" sldId="2147483811"/>
          </pc:sldLayoutMkLst>
        </pc:sldLayoutChg>
        <pc:sldLayoutChg chg="del">
          <pc:chgData name="John Deardurff" userId="a22eae058e899168" providerId="LiveId" clId="{606C8056-BEA3-4BC1-B617-473143A50722}" dt="2024-01-20T11:13:14.014" v="42" actId="2696"/>
          <pc:sldLayoutMkLst>
            <pc:docMk/>
            <pc:sldMasterMk cId="3415699054" sldId="2147483810"/>
            <pc:sldLayoutMk cId="1499274286" sldId="2147483812"/>
          </pc:sldLayoutMkLst>
        </pc:sldLayoutChg>
        <pc:sldLayoutChg chg="del">
          <pc:chgData name="John Deardurff" userId="a22eae058e899168" providerId="LiveId" clId="{606C8056-BEA3-4BC1-B617-473143A50722}" dt="2024-01-20T11:13:13.746" v="41" actId="2696"/>
          <pc:sldLayoutMkLst>
            <pc:docMk/>
            <pc:sldMasterMk cId="3415699054" sldId="2147483810"/>
            <pc:sldLayoutMk cId="4235483291" sldId="2147483813"/>
          </pc:sldLayoutMkLst>
        </pc:sldLayoutChg>
        <pc:sldLayoutChg chg="del">
          <pc:chgData name="John Deardurff" userId="a22eae058e899168" providerId="LiveId" clId="{606C8056-BEA3-4BC1-B617-473143A50722}" dt="2024-01-20T11:13:13.428" v="40" actId="2696"/>
          <pc:sldLayoutMkLst>
            <pc:docMk/>
            <pc:sldMasterMk cId="3415699054" sldId="2147483810"/>
            <pc:sldLayoutMk cId="2464708225" sldId="2147483814"/>
          </pc:sldLayoutMkLst>
        </pc:sldLayoutChg>
        <pc:sldLayoutChg chg="del">
          <pc:chgData name="John Deardurff" userId="a22eae058e899168" providerId="LiveId" clId="{606C8056-BEA3-4BC1-B617-473143A50722}" dt="2024-01-20T11:13:13.127" v="39" actId="2696"/>
          <pc:sldLayoutMkLst>
            <pc:docMk/>
            <pc:sldMasterMk cId="3415699054" sldId="2147483810"/>
            <pc:sldLayoutMk cId="366345970" sldId="2147483815"/>
          </pc:sldLayoutMkLst>
        </pc:sldLayoutChg>
        <pc:sldLayoutChg chg="del">
          <pc:chgData name="John Deardurff" userId="a22eae058e899168" providerId="LiveId" clId="{606C8056-BEA3-4BC1-B617-473143A50722}" dt="2024-01-20T11:13:12.794" v="38" actId="2696"/>
          <pc:sldLayoutMkLst>
            <pc:docMk/>
            <pc:sldMasterMk cId="3415699054" sldId="2147483810"/>
            <pc:sldLayoutMk cId="1267874718" sldId="2147483816"/>
          </pc:sldLayoutMkLst>
        </pc:sldLayoutChg>
        <pc:sldLayoutChg chg="del">
          <pc:chgData name="John Deardurff" userId="a22eae058e899168" providerId="LiveId" clId="{606C8056-BEA3-4BC1-B617-473143A50722}" dt="2024-01-20T11:13:12.510" v="37" actId="2696"/>
          <pc:sldLayoutMkLst>
            <pc:docMk/>
            <pc:sldMasterMk cId="3415699054" sldId="2147483810"/>
            <pc:sldLayoutMk cId="2603947968" sldId="2147483817"/>
          </pc:sldLayoutMkLst>
        </pc:sldLayoutChg>
        <pc:sldLayoutChg chg="del">
          <pc:chgData name="John Deardurff" userId="a22eae058e899168" providerId="LiveId" clId="{606C8056-BEA3-4BC1-B617-473143A50722}" dt="2024-01-20T11:13:12.193" v="36" actId="2696"/>
          <pc:sldLayoutMkLst>
            <pc:docMk/>
            <pc:sldMasterMk cId="3415699054" sldId="2147483810"/>
            <pc:sldLayoutMk cId="4002620003" sldId="2147483818"/>
          </pc:sldLayoutMkLst>
        </pc:sldLayoutChg>
        <pc:sldLayoutChg chg="del">
          <pc:chgData name="John Deardurff" userId="a22eae058e899168" providerId="LiveId" clId="{606C8056-BEA3-4BC1-B617-473143A50722}" dt="2024-01-20T11:13:11.905" v="35" actId="2696"/>
          <pc:sldLayoutMkLst>
            <pc:docMk/>
            <pc:sldMasterMk cId="3415699054" sldId="2147483810"/>
            <pc:sldLayoutMk cId="449169652" sldId="2147483819"/>
          </pc:sldLayoutMkLst>
        </pc:sldLayoutChg>
        <pc:sldLayoutChg chg="del">
          <pc:chgData name="John Deardurff" userId="a22eae058e899168" providerId="LiveId" clId="{606C8056-BEA3-4BC1-B617-473143A50722}" dt="2024-01-20T11:13:11.591" v="34" actId="2696"/>
          <pc:sldLayoutMkLst>
            <pc:docMk/>
            <pc:sldMasterMk cId="3415699054" sldId="2147483810"/>
            <pc:sldLayoutMk cId="903920695" sldId="2147483820"/>
          </pc:sldLayoutMkLst>
        </pc:sldLayoutChg>
        <pc:sldLayoutChg chg="del">
          <pc:chgData name="John Deardurff" userId="a22eae058e899168" providerId="LiveId" clId="{606C8056-BEA3-4BC1-B617-473143A50722}" dt="2024-01-20T11:13:11.289" v="33" actId="2696"/>
          <pc:sldLayoutMkLst>
            <pc:docMk/>
            <pc:sldMasterMk cId="3415699054" sldId="2147483810"/>
            <pc:sldLayoutMk cId="2718717053" sldId="2147483821"/>
          </pc:sldLayoutMkLst>
        </pc:sldLayoutChg>
        <pc:sldLayoutChg chg="del">
          <pc:chgData name="John Deardurff" userId="a22eae058e899168" providerId="LiveId" clId="{606C8056-BEA3-4BC1-B617-473143A50722}" dt="2024-01-20T11:13:10.975" v="32" actId="2696"/>
          <pc:sldLayoutMkLst>
            <pc:docMk/>
            <pc:sldMasterMk cId="3415699054" sldId="2147483810"/>
            <pc:sldLayoutMk cId="494828672" sldId="2147483822"/>
          </pc:sldLayoutMkLst>
        </pc:sldLayoutChg>
        <pc:sldLayoutChg chg="del">
          <pc:chgData name="John Deardurff" userId="a22eae058e899168" providerId="LiveId" clId="{606C8056-BEA3-4BC1-B617-473143A50722}" dt="2024-01-20T11:13:10.739" v="31" actId="2696"/>
          <pc:sldLayoutMkLst>
            <pc:docMk/>
            <pc:sldMasterMk cId="3415699054" sldId="2147483810"/>
            <pc:sldLayoutMk cId="3925372318" sldId="2147483823"/>
          </pc:sldLayoutMkLst>
        </pc:sldLayoutChg>
        <pc:sldLayoutChg chg="del">
          <pc:chgData name="John Deardurff" userId="a22eae058e899168" providerId="LiveId" clId="{606C8056-BEA3-4BC1-B617-473143A50722}" dt="2024-01-20T11:13:10.406" v="30" actId="2696"/>
          <pc:sldLayoutMkLst>
            <pc:docMk/>
            <pc:sldMasterMk cId="3415699054" sldId="2147483810"/>
            <pc:sldLayoutMk cId="2151799910" sldId="2147483824"/>
          </pc:sldLayoutMkLst>
        </pc:sldLayoutChg>
        <pc:sldLayoutChg chg="del">
          <pc:chgData name="John Deardurff" userId="a22eae058e899168" providerId="LiveId" clId="{606C8056-BEA3-4BC1-B617-473143A50722}" dt="2024-01-20T11:13:10.129" v="29" actId="2696"/>
          <pc:sldLayoutMkLst>
            <pc:docMk/>
            <pc:sldMasterMk cId="3415699054" sldId="2147483810"/>
            <pc:sldLayoutMk cId="176879062" sldId="2147483825"/>
          </pc:sldLayoutMkLst>
        </pc:sldLayoutChg>
        <pc:sldLayoutChg chg="del">
          <pc:chgData name="John Deardurff" userId="a22eae058e899168" providerId="LiveId" clId="{606C8056-BEA3-4BC1-B617-473143A50722}" dt="2024-01-20T11:13:09.839" v="28" actId="2696"/>
          <pc:sldLayoutMkLst>
            <pc:docMk/>
            <pc:sldMasterMk cId="3415699054" sldId="2147483810"/>
            <pc:sldLayoutMk cId="780257972" sldId="2147483826"/>
          </pc:sldLayoutMkLst>
        </pc:sldLayoutChg>
        <pc:sldLayoutChg chg="del">
          <pc:chgData name="John Deardurff" userId="a22eae058e899168" providerId="LiveId" clId="{606C8056-BEA3-4BC1-B617-473143A50722}" dt="2024-01-20T11:13:09.530" v="27" actId="2696"/>
          <pc:sldLayoutMkLst>
            <pc:docMk/>
            <pc:sldMasterMk cId="3415699054" sldId="2147483810"/>
            <pc:sldLayoutMk cId="3140318137" sldId="2147483827"/>
          </pc:sldLayoutMkLst>
        </pc:sldLayoutChg>
        <pc:sldLayoutChg chg="del">
          <pc:chgData name="John Deardurff" userId="a22eae058e899168" providerId="LiveId" clId="{606C8056-BEA3-4BC1-B617-473143A50722}" dt="2024-01-20T11:13:09.261" v="26" actId="2696"/>
          <pc:sldLayoutMkLst>
            <pc:docMk/>
            <pc:sldMasterMk cId="3415699054" sldId="2147483810"/>
            <pc:sldLayoutMk cId="1412601268" sldId="2147483828"/>
          </pc:sldLayoutMkLst>
        </pc:sldLayoutChg>
        <pc:sldLayoutChg chg="del">
          <pc:chgData name="John Deardurff" userId="a22eae058e899168" providerId="LiveId" clId="{606C8056-BEA3-4BC1-B617-473143A50722}" dt="2024-01-20T11:13:08.955" v="25" actId="2696"/>
          <pc:sldLayoutMkLst>
            <pc:docMk/>
            <pc:sldMasterMk cId="3415699054" sldId="2147483810"/>
            <pc:sldLayoutMk cId="3565585961" sldId="2147483829"/>
          </pc:sldLayoutMkLst>
        </pc:sldLayoutChg>
        <pc:sldLayoutChg chg="del">
          <pc:chgData name="John Deardurff" userId="a22eae058e899168" providerId="LiveId" clId="{606C8056-BEA3-4BC1-B617-473143A50722}" dt="2024-01-20T11:13:08.655" v="24" actId="2696"/>
          <pc:sldLayoutMkLst>
            <pc:docMk/>
            <pc:sldMasterMk cId="3415699054" sldId="2147483810"/>
            <pc:sldLayoutMk cId="664048035" sldId="2147483830"/>
          </pc:sldLayoutMkLst>
        </pc:sldLayoutChg>
        <pc:sldLayoutChg chg="del">
          <pc:chgData name="John Deardurff" userId="a22eae058e899168" providerId="LiveId" clId="{606C8056-BEA3-4BC1-B617-473143A50722}" dt="2024-01-20T11:13:08.346" v="23" actId="2696"/>
          <pc:sldLayoutMkLst>
            <pc:docMk/>
            <pc:sldMasterMk cId="3415699054" sldId="2147483810"/>
            <pc:sldLayoutMk cId="2253594967" sldId="2147483831"/>
          </pc:sldLayoutMkLst>
        </pc:sldLayoutChg>
        <pc:sldLayoutChg chg="del">
          <pc:chgData name="John Deardurff" userId="a22eae058e899168" providerId="LiveId" clId="{606C8056-BEA3-4BC1-B617-473143A50722}" dt="2024-01-20T11:13:08.055" v="22" actId="2696"/>
          <pc:sldLayoutMkLst>
            <pc:docMk/>
            <pc:sldMasterMk cId="3415699054" sldId="2147483810"/>
            <pc:sldLayoutMk cId="2960430701" sldId="2147483832"/>
          </pc:sldLayoutMkLst>
        </pc:sldLayoutChg>
        <pc:sldLayoutChg chg="del">
          <pc:chgData name="John Deardurff" userId="a22eae058e899168" providerId="LiveId" clId="{606C8056-BEA3-4BC1-B617-473143A50722}" dt="2024-01-20T11:13:07.785" v="21" actId="2696"/>
          <pc:sldLayoutMkLst>
            <pc:docMk/>
            <pc:sldMasterMk cId="3415699054" sldId="2147483810"/>
            <pc:sldLayoutMk cId="1886935822" sldId="2147483833"/>
          </pc:sldLayoutMkLst>
        </pc:sldLayoutChg>
        <pc:sldLayoutChg chg="del">
          <pc:chgData name="John Deardurff" userId="a22eae058e899168" providerId="LiveId" clId="{606C8056-BEA3-4BC1-B617-473143A50722}" dt="2024-01-20T11:13:07.439" v="20" actId="2696"/>
          <pc:sldLayoutMkLst>
            <pc:docMk/>
            <pc:sldMasterMk cId="3415699054" sldId="2147483810"/>
            <pc:sldLayoutMk cId="1942523860" sldId="2147483834"/>
          </pc:sldLayoutMkLst>
        </pc:sldLayoutChg>
        <pc:sldLayoutChg chg="del">
          <pc:chgData name="John Deardurff" userId="a22eae058e899168" providerId="LiveId" clId="{606C8056-BEA3-4BC1-B617-473143A50722}" dt="2024-01-20T11:13:07.125" v="19" actId="2696"/>
          <pc:sldLayoutMkLst>
            <pc:docMk/>
            <pc:sldMasterMk cId="3415699054" sldId="2147483810"/>
            <pc:sldLayoutMk cId="2158618661" sldId="2147483835"/>
          </pc:sldLayoutMkLst>
        </pc:sldLayoutChg>
        <pc:sldLayoutChg chg="del">
          <pc:chgData name="John Deardurff" userId="a22eae058e899168" providerId="LiveId" clId="{606C8056-BEA3-4BC1-B617-473143A50722}" dt="2024-01-20T11:13:06.808" v="18" actId="2696"/>
          <pc:sldLayoutMkLst>
            <pc:docMk/>
            <pc:sldMasterMk cId="3415699054" sldId="2147483810"/>
            <pc:sldLayoutMk cId="2901156598" sldId="2147483836"/>
          </pc:sldLayoutMkLst>
        </pc:sldLayoutChg>
        <pc:sldLayoutChg chg="del">
          <pc:chgData name="John Deardurff" userId="a22eae058e899168" providerId="LiveId" clId="{606C8056-BEA3-4BC1-B617-473143A50722}" dt="2024-01-20T11:13:06.481" v="17" actId="2696"/>
          <pc:sldLayoutMkLst>
            <pc:docMk/>
            <pc:sldMasterMk cId="3415699054" sldId="2147483810"/>
            <pc:sldLayoutMk cId="1134878612" sldId="2147483837"/>
          </pc:sldLayoutMkLst>
        </pc:sldLayoutChg>
        <pc:sldLayoutChg chg="del">
          <pc:chgData name="John Deardurff" userId="a22eae058e899168" providerId="LiveId" clId="{606C8056-BEA3-4BC1-B617-473143A50722}" dt="2024-01-20T11:13:06.190" v="16" actId="2696"/>
          <pc:sldLayoutMkLst>
            <pc:docMk/>
            <pc:sldMasterMk cId="3415699054" sldId="2147483810"/>
            <pc:sldLayoutMk cId="1596548125" sldId="2147483838"/>
          </pc:sldLayoutMkLst>
        </pc:sldLayoutChg>
        <pc:sldLayoutChg chg="del">
          <pc:chgData name="John Deardurff" userId="a22eae058e899168" providerId="LiveId" clId="{606C8056-BEA3-4BC1-B617-473143A50722}" dt="2024-01-20T11:13:05.877" v="15" actId="2696"/>
          <pc:sldLayoutMkLst>
            <pc:docMk/>
            <pc:sldMasterMk cId="3415699054" sldId="2147483810"/>
            <pc:sldLayoutMk cId="1777879668" sldId="2147483839"/>
          </pc:sldLayoutMkLst>
        </pc:sldLayoutChg>
        <pc:sldLayoutChg chg="del">
          <pc:chgData name="John Deardurff" userId="a22eae058e899168" providerId="LiveId" clId="{606C8056-BEA3-4BC1-B617-473143A50722}" dt="2024-01-20T11:13:05.569" v="14" actId="2696"/>
          <pc:sldLayoutMkLst>
            <pc:docMk/>
            <pc:sldMasterMk cId="3415699054" sldId="2147483810"/>
            <pc:sldLayoutMk cId="1536364037" sldId="2147483840"/>
          </pc:sldLayoutMkLst>
        </pc:sldLayoutChg>
        <pc:sldLayoutChg chg="del">
          <pc:chgData name="John Deardurff" userId="a22eae058e899168" providerId="LiveId" clId="{606C8056-BEA3-4BC1-B617-473143A50722}" dt="2024-01-20T11:13:05.261" v="13" actId="2696"/>
          <pc:sldLayoutMkLst>
            <pc:docMk/>
            <pc:sldMasterMk cId="3415699054" sldId="2147483810"/>
            <pc:sldLayoutMk cId="2633345061" sldId="2147483841"/>
          </pc:sldLayoutMkLst>
        </pc:sldLayoutChg>
        <pc:sldLayoutChg chg="del">
          <pc:chgData name="John Deardurff" userId="a22eae058e899168" providerId="LiveId" clId="{606C8056-BEA3-4BC1-B617-473143A50722}" dt="2024-01-20T11:13:04.961" v="12" actId="2696"/>
          <pc:sldLayoutMkLst>
            <pc:docMk/>
            <pc:sldMasterMk cId="3415699054" sldId="2147483810"/>
            <pc:sldLayoutMk cId="4006152900" sldId="2147483842"/>
          </pc:sldLayoutMkLst>
        </pc:sldLayoutChg>
        <pc:sldLayoutChg chg="del">
          <pc:chgData name="John Deardurff" userId="a22eae058e899168" providerId="LiveId" clId="{606C8056-BEA3-4BC1-B617-473143A50722}" dt="2024-01-20T11:13:04.643" v="11" actId="2696"/>
          <pc:sldLayoutMkLst>
            <pc:docMk/>
            <pc:sldMasterMk cId="3415699054" sldId="2147483810"/>
            <pc:sldLayoutMk cId="3084007149" sldId="2147483843"/>
          </pc:sldLayoutMkLst>
        </pc:sldLayoutChg>
        <pc:sldLayoutChg chg="del">
          <pc:chgData name="John Deardurff" userId="a22eae058e899168" providerId="LiveId" clId="{606C8056-BEA3-4BC1-B617-473143A50722}" dt="2024-01-20T11:13:04.320" v="10" actId="2696"/>
          <pc:sldLayoutMkLst>
            <pc:docMk/>
            <pc:sldMasterMk cId="3415699054" sldId="2147483810"/>
            <pc:sldLayoutMk cId="3722141418" sldId="2147483844"/>
          </pc:sldLayoutMkLst>
        </pc:sldLayoutChg>
        <pc:sldLayoutChg chg="del">
          <pc:chgData name="John Deardurff" userId="a22eae058e899168" providerId="LiveId" clId="{606C8056-BEA3-4BC1-B617-473143A50722}" dt="2024-01-20T11:13:04.013" v="9" actId="2696"/>
          <pc:sldLayoutMkLst>
            <pc:docMk/>
            <pc:sldMasterMk cId="3415699054" sldId="2147483810"/>
            <pc:sldLayoutMk cId="2022693382" sldId="2147483845"/>
          </pc:sldLayoutMkLst>
        </pc:sldLayoutChg>
        <pc:sldLayoutChg chg="del">
          <pc:chgData name="John Deardurff" userId="a22eae058e899168" providerId="LiveId" clId="{606C8056-BEA3-4BC1-B617-473143A50722}" dt="2024-01-20T11:13:03.726" v="8" actId="2696"/>
          <pc:sldLayoutMkLst>
            <pc:docMk/>
            <pc:sldMasterMk cId="3415699054" sldId="2147483810"/>
            <pc:sldLayoutMk cId="1056176377" sldId="2147483846"/>
          </pc:sldLayoutMkLst>
        </pc:sldLayoutChg>
        <pc:sldLayoutChg chg="del">
          <pc:chgData name="John Deardurff" userId="a22eae058e899168" providerId="LiveId" clId="{606C8056-BEA3-4BC1-B617-473143A50722}" dt="2024-01-20T11:13:03.427" v="7" actId="2696"/>
          <pc:sldLayoutMkLst>
            <pc:docMk/>
            <pc:sldMasterMk cId="3415699054" sldId="2147483810"/>
            <pc:sldLayoutMk cId="2878345577" sldId="2147483847"/>
          </pc:sldLayoutMkLst>
        </pc:sldLayoutChg>
        <pc:sldLayoutChg chg="del">
          <pc:chgData name="John Deardurff" userId="a22eae058e899168" providerId="LiveId" clId="{606C8056-BEA3-4BC1-B617-473143A50722}" dt="2024-01-20T11:13:03.112" v="6" actId="2696"/>
          <pc:sldLayoutMkLst>
            <pc:docMk/>
            <pc:sldMasterMk cId="3415699054" sldId="2147483810"/>
            <pc:sldLayoutMk cId="278836474" sldId="2147483848"/>
          </pc:sldLayoutMkLst>
        </pc:sldLayoutChg>
        <pc:sldLayoutChg chg="del">
          <pc:chgData name="John Deardurff" userId="a22eae058e899168" providerId="LiveId" clId="{606C8056-BEA3-4BC1-B617-473143A50722}" dt="2024-01-20T11:13:02.822" v="5" actId="2696"/>
          <pc:sldLayoutMkLst>
            <pc:docMk/>
            <pc:sldMasterMk cId="3415699054" sldId="2147483810"/>
            <pc:sldLayoutMk cId="49789304" sldId="2147483849"/>
          </pc:sldLayoutMkLst>
        </pc:sldLayoutChg>
        <pc:sldLayoutChg chg="del">
          <pc:chgData name="John Deardurff" userId="a22eae058e899168" providerId="LiveId" clId="{606C8056-BEA3-4BC1-B617-473143A50722}" dt="2024-01-20T11:13:02.539" v="4" actId="2696"/>
          <pc:sldLayoutMkLst>
            <pc:docMk/>
            <pc:sldMasterMk cId="3415699054" sldId="2147483810"/>
            <pc:sldLayoutMk cId="3212262268" sldId="2147483850"/>
          </pc:sldLayoutMkLst>
        </pc:sldLayoutChg>
        <pc:sldLayoutChg chg="del">
          <pc:chgData name="John Deardurff" userId="a22eae058e899168" providerId="LiveId" clId="{606C8056-BEA3-4BC1-B617-473143A50722}" dt="2024-01-20T11:13:02.238" v="3" actId="2696"/>
          <pc:sldLayoutMkLst>
            <pc:docMk/>
            <pc:sldMasterMk cId="3415699054" sldId="2147483810"/>
            <pc:sldLayoutMk cId="303769493" sldId="2147483851"/>
          </pc:sldLayoutMkLst>
        </pc:sldLayoutChg>
        <pc:sldLayoutChg chg="del">
          <pc:chgData name="John Deardurff" userId="a22eae058e899168" providerId="LiveId" clId="{606C8056-BEA3-4BC1-B617-473143A50722}" dt="2024-01-20T11:13:01.910" v="2" actId="2696"/>
          <pc:sldLayoutMkLst>
            <pc:docMk/>
            <pc:sldMasterMk cId="3415699054" sldId="2147483810"/>
            <pc:sldLayoutMk cId="3490865483" sldId="2147483852"/>
          </pc:sldLayoutMkLst>
        </pc:sldLayoutChg>
        <pc:sldLayoutChg chg="del">
          <pc:chgData name="John Deardurff" userId="a22eae058e899168" providerId="LiveId" clId="{606C8056-BEA3-4BC1-B617-473143A50722}" dt="2024-01-20T11:13:01.542" v="1" actId="2696"/>
          <pc:sldLayoutMkLst>
            <pc:docMk/>
            <pc:sldMasterMk cId="3415699054" sldId="2147483810"/>
            <pc:sldLayoutMk cId="2928914664" sldId="2147483853"/>
          </pc:sldLayoutMkLst>
        </pc:sldLayoutChg>
        <pc:sldLayoutChg chg="del">
          <pc:chgData name="John Deardurff" userId="a22eae058e899168" providerId="LiveId" clId="{606C8056-BEA3-4BC1-B617-473143A50722}" dt="2024-01-20T11:13:00.990" v="0" actId="2696"/>
          <pc:sldLayoutMkLst>
            <pc:docMk/>
            <pc:sldMasterMk cId="3415699054" sldId="2147483810"/>
            <pc:sldLayoutMk cId="1048144495" sldId="2147483854"/>
          </pc:sldLayoutMkLst>
        </pc:sldLayoutChg>
      </pc:sldMasterChg>
    </pc:docChg>
  </pc:docChgLst>
</pc:chgInfo>
</file>

<file path=ppt/diagrams/_rels/data18.xml.rels><?xml version="1.0" encoding="UTF-8" standalone="yes"?>
<Relationships xmlns="http://schemas.openxmlformats.org/package/2006/relationships"><Relationship Id="rId3" Type="http://schemas.openxmlformats.org/officeDocument/2006/relationships/hyperlink" Target="https://learn.microsoft.com/en-us/sql/relational-databases/system-stored-procedures/sys-sp-query-store-set-hints-transact-sql?view=sql-server-ver16#supported-query-hints" TargetMode="External"/><Relationship Id="rId2" Type="http://schemas.openxmlformats.org/officeDocument/2006/relationships/hyperlink" Target="https://learn.microsoft.com/en-us/sql/relational-databases/performance/monitoring-performance-by-using-the-query-store?view=sql-server-ver16" TargetMode="External"/><Relationship Id="rId1" Type="http://schemas.openxmlformats.org/officeDocument/2006/relationships/hyperlink" Target="https://learn.microsoft.com/en-us/sql/t-sql/queries/hints-transact-sql-query?view=sql-server-ver16" TargetMode="External"/></Relationships>
</file>

<file path=ppt/diagrams/_rels/data19.xml.rels><?xml version="1.0" encoding="UTF-8" standalone="yes"?>
<Relationships xmlns="http://schemas.openxmlformats.org/package/2006/relationships"><Relationship Id="rId1" Type="http://schemas.openxmlformats.org/officeDocument/2006/relationships/hyperlink" Target="https://learn.microsoft.com/en-us/sql/relational-databases/databases/view-or-change-the-compatibility-level-of-a-database?view=sql-server-ver16" TargetMode="External"/></Relationships>
</file>

<file path=ppt/diagrams/_rels/data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18.xml.rels><?xml version="1.0" encoding="UTF-8" standalone="yes"?>
<Relationships xmlns="http://schemas.openxmlformats.org/package/2006/relationships"><Relationship Id="rId3" Type="http://schemas.openxmlformats.org/officeDocument/2006/relationships/hyperlink" Target="https://learn.microsoft.com/en-us/sql/t-sql/queries/hints-transact-sql-query?view=sql-server-ver16" TargetMode="External"/><Relationship Id="rId2" Type="http://schemas.openxmlformats.org/officeDocument/2006/relationships/hyperlink" Target="https://learn.microsoft.com/en-us/sql/relational-databases/system-stored-procedures/sys-sp-query-store-set-hints-transact-sql?view=sql-server-ver16#supported-query-hints" TargetMode="External"/><Relationship Id="rId1" Type="http://schemas.openxmlformats.org/officeDocument/2006/relationships/hyperlink" Target="https://learn.microsoft.com/en-us/sql/relational-databases/performance/monitoring-performance-by-using-the-query-store?view=sql-server-ver16" TargetMode="External"/></Relationships>
</file>

<file path=ppt/diagrams/_rels/drawing19.xml.rels><?xml version="1.0" encoding="UTF-8" standalone="yes"?>
<Relationships xmlns="http://schemas.openxmlformats.org/package/2006/relationships"><Relationship Id="rId1" Type="http://schemas.openxmlformats.org/officeDocument/2006/relationships/hyperlink" Target="https://learn.microsoft.com/en-us/sql/relational-databases/databases/view-or-change-the-compatibility-level-of-a-database?view=sql-server-ver16" TargetMode="External"/></Relationships>
</file>

<file path=ppt/diagrams/_rels/drawing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1E6C2E-F468-4922-ADFA-CB176D57AE5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60A2FDB-84A2-4D65-B284-BE8B17AF4D61}">
      <dgm:prSet/>
      <dgm:spPr/>
      <dgm:t>
        <a:bodyPr/>
        <a:lstStyle/>
        <a:p>
          <a:r>
            <a:rPr lang="en-US" baseline="0" dirty="0"/>
            <a:t>A pool of memory used to store query execution plans</a:t>
          </a:r>
          <a:endParaRPr lang="en-US" dirty="0"/>
        </a:p>
      </dgm:t>
    </dgm:pt>
    <dgm:pt modelId="{D6EE3DE2-A97D-4917-B18A-CCA95C933C43}" type="parTrans" cxnId="{380BA6B1-E891-4605-B5B8-25693536993E}">
      <dgm:prSet/>
      <dgm:spPr/>
      <dgm:t>
        <a:bodyPr/>
        <a:lstStyle/>
        <a:p>
          <a:endParaRPr lang="en-US"/>
        </a:p>
      </dgm:t>
    </dgm:pt>
    <dgm:pt modelId="{E70751FC-F60B-477F-ADBB-45FF4F807ED8}" type="sibTrans" cxnId="{380BA6B1-E891-4605-B5B8-25693536993E}">
      <dgm:prSet/>
      <dgm:spPr/>
      <dgm:t>
        <a:bodyPr/>
        <a:lstStyle/>
        <a:p>
          <a:endParaRPr lang="en-US"/>
        </a:p>
      </dgm:t>
    </dgm:pt>
    <dgm:pt modelId="{BD6C200C-C4FC-46BD-B87B-908CB172E70F}">
      <dgm:prSet/>
      <dgm:spPr/>
      <dgm:t>
        <a:bodyPr/>
        <a:lstStyle/>
        <a:p>
          <a:r>
            <a:rPr lang="en-US" dirty="0"/>
            <a:t>Used by a</a:t>
          </a:r>
          <a:r>
            <a:rPr lang="en-US" baseline="0" dirty="0"/>
            <a:t>ll databases in a SQL Server instance</a:t>
          </a:r>
          <a:endParaRPr lang="en-US" dirty="0"/>
        </a:p>
      </dgm:t>
    </dgm:pt>
    <dgm:pt modelId="{D401E71A-F3A9-452D-9E1C-F4A3113BC68D}" type="parTrans" cxnId="{9B991698-142C-4789-B113-CC29E12787DB}">
      <dgm:prSet/>
      <dgm:spPr/>
      <dgm:t>
        <a:bodyPr/>
        <a:lstStyle/>
        <a:p>
          <a:endParaRPr lang="en-US"/>
        </a:p>
      </dgm:t>
    </dgm:pt>
    <dgm:pt modelId="{4C8F42BF-3875-4313-9445-C6F3E940407A}" type="sibTrans" cxnId="{9B991698-142C-4789-B113-CC29E12787DB}">
      <dgm:prSet/>
      <dgm:spPr/>
      <dgm:t>
        <a:bodyPr/>
        <a:lstStyle/>
        <a:p>
          <a:endParaRPr lang="en-US"/>
        </a:p>
      </dgm:t>
    </dgm:pt>
    <dgm:pt modelId="{23282C6B-4684-4713-9146-6C30E2F49654}">
      <dgm:prSet/>
      <dgm:spPr/>
      <dgm:t>
        <a:bodyPr/>
        <a:lstStyle/>
        <a:p>
          <a:r>
            <a:rPr lang="en-US" dirty="0"/>
            <a:t>Exists to a</a:t>
          </a:r>
          <a:r>
            <a:rPr lang="en-US" baseline="0" dirty="0"/>
            <a:t>void repeated optimization and compilation</a:t>
          </a:r>
          <a:endParaRPr lang="en-US" dirty="0"/>
        </a:p>
      </dgm:t>
    </dgm:pt>
    <dgm:pt modelId="{5279FD8E-15ED-4B63-AA41-8DE6FC6CD742}" type="parTrans" cxnId="{B7C74E9E-8780-4168-999A-8E09499294F9}">
      <dgm:prSet/>
      <dgm:spPr/>
      <dgm:t>
        <a:bodyPr/>
        <a:lstStyle/>
        <a:p>
          <a:endParaRPr lang="en-US"/>
        </a:p>
      </dgm:t>
    </dgm:pt>
    <dgm:pt modelId="{61545D51-D75D-4C3E-AC8E-63787E84D1F8}" type="sibTrans" cxnId="{B7C74E9E-8780-4168-999A-8E09499294F9}">
      <dgm:prSet/>
      <dgm:spPr/>
      <dgm:t>
        <a:bodyPr/>
        <a:lstStyle/>
        <a:p>
          <a:endParaRPr lang="en-US"/>
        </a:p>
      </dgm:t>
    </dgm:pt>
    <dgm:pt modelId="{48F32901-B2CA-4180-8606-7BC8E77681BB}">
      <dgm:prSet/>
      <dgm:spPr/>
      <dgm:t>
        <a:bodyPr/>
        <a:lstStyle/>
        <a:p>
          <a:r>
            <a:rPr lang="en-US" dirty="0"/>
            <a:t>Size and contents </a:t>
          </a:r>
          <a:r>
            <a:rPr lang="en-US" baseline="0" dirty="0"/>
            <a:t>vary over time.</a:t>
          </a:r>
          <a:endParaRPr lang="en-US" dirty="0"/>
        </a:p>
      </dgm:t>
    </dgm:pt>
    <dgm:pt modelId="{3A5328FF-37CC-4A5D-AF0E-7AC975C9FE70}" type="parTrans" cxnId="{BC98D9AC-0042-472B-B261-55B17655253B}">
      <dgm:prSet/>
      <dgm:spPr/>
      <dgm:t>
        <a:bodyPr/>
        <a:lstStyle/>
        <a:p>
          <a:endParaRPr lang="en-US"/>
        </a:p>
      </dgm:t>
    </dgm:pt>
    <dgm:pt modelId="{BE469B66-09CC-4875-AA82-62F1E701D310}" type="sibTrans" cxnId="{BC98D9AC-0042-472B-B261-55B17655253B}">
      <dgm:prSet/>
      <dgm:spPr/>
      <dgm:t>
        <a:bodyPr/>
        <a:lstStyle/>
        <a:p>
          <a:endParaRPr lang="en-US"/>
        </a:p>
      </dgm:t>
    </dgm:pt>
    <dgm:pt modelId="{F59B03AB-16A4-4312-857B-13E39B969AB2}">
      <dgm:prSet/>
      <dgm:spPr/>
      <dgm:t>
        <a:bodyPr/>
        <a:lstStyle/>
        <a:p>
          <a:r>
            <a:rPr lang="en-US" baseline="0" dirty="0"/>
            <a:t>Reuse of reduce optimization and compilation costs</a:t>
          </a:r>
          <a:endParaRPr lang="en-US" dirty="0"/>
        </a:p>
      </dgm:t>
    </dgm:pt>
    <dgm:pt modelId="{FFB270C7-AE39-4FCA-BED7-6D43A41AC593}" type="parTrans" cxnId="{4AD44B15-023A-41DA-AB60-7F02A1BB1AF6}">
      <dgm:prSet/>
      <dgm:spPr/>
      <dgm:t>
        <a:bodyPr/>
        <a:lstStyle/>
        <a:p>
          <a:endParaRPr lang="en-US"/>
        </a:p>
      </dgm:t>
    </dgm:pt>
    <dgm:pt modelId="{D7782E6E-C63E-4E7A-B803-F7A6A0474DF2}" type="sibTrans" cxnId="{4AD44B15-023A-41DA-AB60-7F02A1BB1AF6}">
      <dgm:prSet/>
      <dgm:spPr/>
      <dgm:t>
        <a:bodyPr/>
        <a:lstStyle/>
        <a:p>
          <a:endParaRPr lang="en-US"/>
        </a:p>
      </dgm:t>
    </dgm:pt>
    <dgm:pt modelId="{D1AA5BB3-2C08-4467-A3D2-69DA5CBBACE8}" type="pres">
      <dgm:prSet presAssocID="{791E6C2E-F468-4922-ADFA-CB176D57AE56}" presName="linear" presStyleCnt="0">
        <dgm:presLayoutVars>
          <dgm:animLvl val="lvl"/>
          <dgm:resizeHandles val="exact"/>
        </dgm:presLayoutVars>
      </dgm:prSet>
      <dgm:spPr/>
    </dgm:pt>
    <dgm:pt modelId="{BBDD2BDE-B2EC-47CA-A973-8EEA2AAF8040}" type="pres">
      <dgm:prSet presAssocID="{F60A2FDB-84A2-4D65-B284-BE8B17AF4D61}" presName="parentText" presStyleLbl="node1" presStyleIdx="0" presStyleCnt="5">
        <dgm:presLayoutVars>
          <dgm:chMax val="0"/>
          <dgm:bulletEnabled val="1"/>
        </dgm:presLayoutVars>
      </dgm:prSet>
      <dgm:spPr/>
    </dgm:pt>
    <dgm:pt modelId="{E2B8A9DD-08AD-46A8-BF4A-CA6064B6F99F}" type="pres">
      <dgm:prSet presAssocID="{E70751FC-F60B-477F-ADBB-45FF4F807ED8}" presName="spacer" presStyleCnt="0"/>
      <dgm:spPr/>
    </dgm:pt>
    <dgm:pt modelId="{4ABB565F-2368-4EC2-BC8B-1EFFACA85D9B}" type="pres">
      <dgm:prSet presAssocID="{BD6C200C-C4FC-46BD-B87B-908CB172E70F}" presName="parentText" presStyleLbl="node1" presStyleIdx="1" presStyleCnt="5">
        <dgm:presLayoutVars>
          <dgm:chMax val="0"/>
          <dgm:bulletEnabled val="1"/>
        </dgm:presLayoutVars>
      </dgm:prSet>
      <dgm:spPr/>
    </dgm:pt>
    <dgm:pt modelId="{8E2E4250-10C0-4017-8403-8EFE834AE332}" type="pres">
      <dgm:prSet presAssocID="{4C8F42BF-3875-4313-9445-C6F3E940407A}" presName="spacer" presStyleCnt="0"/>
      <dgm:spPr/>
    </dgm:pt>
    <dgm:pt modelId="{5F9F3BA5-18FC-4D9C-9847-C2707B579669}" type="pres">
      <dgm:prSet presAssocID="{23282C6B-4684-4713-9146-6C30E2F49654}" presName="parentText" presStyleLbl="node1" presStyleIdx="2" presStyleCnt="5">
        <dgm:presLayoutVars>
          <dgm:chMax val="0"/>
          <dgm:bulletEnabled val="1"/>
        </dgm:presLayoutVars>
      </dgm:prSet>
      <dgm:spPr/>
    </dgm:pt>
    <dgm:pt modelId="{41EA7D2A-7F94-4C3D-BC2E-A215CE2EBB44}" type="pres">
      <dgm:prSet presAssocID="{61545D51-D75D-4C3E-AC8E-63787E84D1F8}" presName="spacer" presStyleCnt="0"/>
      <dgm:spPr/>
    </dgm:pt>
    <dgm:pt modelId="{DD1AFBFE-2110-4945-A824-79A8A07F70E2}" type="pres">
      <dgm:prSet presAssocID="{F59B03AB-16A4-4312-857B-13E39B969AB2}" presName="parentText" presStyleLbl="node1" presStyleIdx="3" presStyleCnt="5">
        <dgm:presLayoutVars>
          <dgm:chMax val="0"/>
          <dgm:bulletEnabled val="1"/>
        </dgm:presLayoutVars>
      </dgm:prSet>
      <dgm:spPr/>
    </dgm:pt>
    <dgm:pt modelId="{4AC6AD15-0B98-4C9D-92E0-7C79BF9653EF}" type="pres">
      <dgm:prSet presAssocID="{D7782E6E-C63E-4E7A-B803-F7A6A0474DF2}" presName="spacer" presStyleCnt="0"/>
      <dgm:spPr/>
    </dgm:pt>
    <dgm:pt modelId="{78E01664-1A39-4D3E-A01C-C8D5235F5F8F}" type="pres">
      <dgm:prSet presAssocID="{48F32901-B2CA-4180-8606-7BC8E77681BB}" presName="parentText" presStyleLbl="node1" presStyleIdx="4" presStyleCnt="5">
        <dgm:presLayoutVars>
          <dgm:chMax val="0"/>
          <dgm:bulletEnabled val="1"/>
        </dgm:presLayoutVars>
      </dgm:prSet>
      <dgm:spPr/>
    </dgm:pt>
  </dgm:ptLst>
  <dgm:cxnLst>
    <dgm:cxn modelId="{73553110-EAD8-46FE-B4B2-7803EEBC1EB7}" type="presOf" srcId="{F59B03AB-16A4-4312-857B-13E39B969AB2}" destId="{DD1AFBFE-2110-4945-A824-79A8A07F70E2}" srcOrd="0" destOrd="0" presId="urn:microsoft.com/office/officeart/2005/8/layout/vList2"/>
    <dgm:cxn modelId="{4AD44B15-023A-41DA-AB60-7F02A1BB1AF6}" srcId="{791E6C2E-F468-4922-ADFA-CB176D57AE56}" destId="{F59B03AB-16A4-4312-857B-13E39B969AB2}" srcOrd="3" destOrd="0" parTransId="{FFB270C7-AE39-4FCA-BED7-6D43A41AC593}" sibTransId="{D7782E6E-C63E-4E7A-B803-F7A6A0474DF2}"/>
    <dgm:cxn modelId="{FEE78A48-79BD-45B7-A9C3-20D4BCA8F4ED}" type="presOf" srcId="{BD6C200C-C4FC-46BD-B87B-908CB172E70F}" destId="{4ABB565F-2368-4EC2-BC8B-1EFFACA85D9B}" srcOrd="0" destOrd="0" presId="urn:microsoft.com/office/officeart/2005/8/layout/vList2"/>
    <dgm:cxn modelId="{2F704B8D-1ED8-4750-ACA0-CBB3F1EB071B}" type="presOf" srcId="{23282C6B-4684-4713-9146-6C30E2F49654}" destId="{5F9F3BA5-18FC-4D9C-9847-C2707B579669}" srcOrd="0" destOrd="0" presId="urn:microsoft.com/office/officeart/2005/8/layout/vList2"/>
    <dgm:cxn modelId="{9B991698-142C-4789-B113-CC29E12787DB}" srcId="{791E6C2E-F468-4922-ADFA-CB176D57AE56}" destId="{BD6C200C-C4FC-46BD-B87B-908CB172E70F}" srcOrd="1" destOrd="0" parTransId="{D401E71A-F3A9-452D-9E1C-F4A3113BC68D}" sibTransId="{4C8F42BF-3875-4313-9445-C6F3E940407A}"/>
    <dgm:cxn modelId="{B7C74E9E-8780-4168-999A-8E09499294F9}" srcId="{791E6C2E-F468-4922-ADFA-CB176D57AE56}" destId="{23282C6B-4684-4713-9146-6C30E2F49654}" srcOrd="2" destOrd="0" parTransId="{5279FD8E-15ED-4B63-AA41-8DE6FC6CD742}" sibTransId="{61545D51-D75D-4C3E-AC8E-63787E84D1F8}"/>
    <dgm:cxn modelId="{FFF422AA-1462-4356-9E7D-D71C989E833D}" type="presOf" srcId="{48F32901-B2CA-4180-8606-7BC8E77681BB}" destId="{78E01664-1A39-4D3E-A01C-C8D5235F5F8F}" srcOrd="0" destOrd="0" presId="urn:microsoft.com/office/officeart/2005/8/layout/vList2"/>
    <dgm:cxn modelId="{A07CD6AC-640A-417B-B291-D675FC6AD484}" type="presOf" srcId="{F60A2FDB-84A2-4D65-B284-BE8B17AF4D61}" destId="{BBDD2BDE-B2EC-47CA-A973-8EEA2AAF8040}" srcOrd="0" destOrd="0" presId="urn:microsoft.com/office/officeart/2005/8/layout/vList2"/>
    <dgm:cxn modelId="{BC98D9AC-0042-472B-B261-55B17655253B}" srcId="{791E6C2E-F468-4922-ADFA-CB176D57AE56}" destId="{48F32901-B2CA-4180-8606-7BC8E77681BB}" srcOrd="4" destOrd="0" parTransId="{3A5328FF-37CC-4A5D-AF0E-7AC975C9FE70}" sibTransId="{BE469B66-09CC-4875-AA82-62F1E701D310}"/>
    <dgm:cxn modelId="{380BA6B1-E891-4605-B5B8-25693536993E}" srcId="{791E6C2E-F468-4922-ADFA-CB176D57AE56}" destId="{F60A2FDB-84A2-4D65-B284-BE8B17AF4D61}" srcOrd="0" destOrd="0" parTransId="{D6EE3DE2-A97D-4917-B18A-CCA95C933C43}" sibTransId="{E70751FC-F60B-477F-ADBB-45FF4F807ED8}"/>
    <dgm:cxn modelId="{58FCD4CA-4096-45DC-AEBC-B49D1CEDF47A}" type="presOf" srcId="{791E6C2E-F468-4922-ADFA-CB176D57AE56}" destId="{D1AA5BB3-2C08-4467-A3D2-69DA5CBBACE8}" srcOrd="0" destOrd="0" presId="urn:microsoft.com/office/officeart/2005/8/layout/vList2"/>
    <dgm:cxn modelId="{2026123A-B132-44A4-8EBD-DF8B41254417}" type="presParOf" srcId="{D1AA5BB3-2C08-4467-A3D2-69DA5CBBACE8}" destId="{BBDD2BDE-B2EC-47CA-A973-8EEA2AAF8040}" srcOrd="0" destOrd="0" presId="urn:microsoft.com/office/officeart/2005/8/layout/vList2"/>
    <dgm:cxn modelId="{2493343C-7899-4705-A92C-048EC0264FAF}" type="presParOf" srcId="{D1AA5BB3-2C08-4467-A3D2-69DA5CBBACE8}" destId="{E2B8A9DD-08AD-46A8-BF4A-CA6064B6F99F}" srcOrd="1" destOrd="0" presId="urn:microsoft.com/office/officeart/2005/8/layout/vList2"/>
    <dgm:cxn modelId="{25C74FB3-2F45-4E71-9EEA-96EE919AD827}" type="presParOf" srcId="{D1AA5BB3-2C08-4467-A3D2-69DA5CBBACE8}" destId="{4ABB565F-2368-4EC2-BC8B-1EFFACA85D9B}" srcOrd="2" destOrd="0" presId="urn:microsoft.com/office/officeart/2005/8/layout/vList2"/>
    <dgm:cxn modelId="{5EC80700-CA3A-4334-955F-456F004E1AB0}" type="presParOf" srcId="{D1AA5BB3-2C08-4467-A3D2-69DA5CBBACE8}" destId="{8E2E4250-10C0-4017-8403-8EFE834AE332}" srcOrd="3" destOrd="0" presId="urn:microsoft.com/office/officeart/2005/8/layout/vList2"/>
    <dgm:cxn modelId="{CC2D0064-C417-481E-B4A3-9A5E824565D4}" type="presParOf" srcId="{D1AA5BB3-2C08-4467-A3D2-69DA5CBBACE8}" destId="{5F9F3BA5-18FC-4D9C-9847-C2707B579669}" srcOrd="4" destOrd="0" presId="urn:microsoft.com/office/officeart/2005/8/layout/vList2"/>
    <dgm:cxn modelId="{C2E38176-39E8-4D69-A956-FD4C3C8A1E87}" type="presParOf" srcId="{D1AA5BB3-2C08-4467-A3D2-69DA5CBBACE8}" destId="{41EA7D2A-7F94-4C3D-BC2E-A215CE2EBB44}" srcOrd="5" destOrd="0" presId="urn:microsoft.com/office/officeart/2005/8/layout/vList2"/>
    <dgm:cxn modelId="{E682DD19-6F22-4E19-A4E8-15DDB707A52A}" type="presParOf" srcId="{D1AA5BB3-2C08-4467-A3D2-69DA5CBBACE8}" destId="{DD1AFBFE-2110-4945-A824-79A8A07F70E2}" srcOrd="6" destOrd="0" presId="urn:microsoft.com/office/officeart/2005/8/layout/vList2"/>
    <dgm:cxn modelId="{D89B1DAB-3400-455D-A5FB-97A91E9B2FE0}" type="presParOf" srcId="{D1AA5BB3-2C08-4467-A3D2-69DA5CBBACE8}" destId="{4AC6AD15-0B98-4C9D-92E0-7C79BF9653EF}" srcOrd="7" destOrd="0" presId="urn:microsoft.com/office/officeart/2005/8/layout/vList2"/>
    <dgm:cxn modelId="{7F1D4686-09F3-4BF7-A726-7FE94A8C64A7}" type="presParOf" srcId="{D1AA5BB3-2C08-4467-A3D2-69DA5CBBACE8}" destId="{78E01664-1A39-4D3E-A01C-C8D5235F5F8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2BB4C4D-6A2A-4D52-A7B2-3DD1BC67C1AE}"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02C37799-61AD-4F0A-A12B-784AB963A475}">
      <dgm:prSet custT="1"/>
      <dgm:spPr/>
      <dgm:t>
        <a:bodyPr/>
        <a:lstStyle/>
        <a:p>
          <a:r>
            <a:rPr lang="en-US" sz="2200" baseline="0" dirty="0"/>
            <a:t>Improved performance as reuse saves time and CPU</a:t>
          </a:r>
          <a:endParaRPr lang="en-US" sz="2200" dirty="0"/>
        </a:p>
      </dgm:t>
    </dgm:pt>
    <dgm:pt modelId="{6DAD55D5-C023-4FC0-863B-DF551DE12024}" type="parTrans" cxnId="{00497EF6-086E-40D8-802A-090EE237E1D8}">
      <dgm:prSet/>
      <dgm:spPr/>
      <dgm:t>
        <a:bodyPr/>
        <a:lstStyle/>
        <a:p>
          <a:endParaRPr lang="en-US"/>
        </a:p>
      </dgm:t>
    </dgm:pt>
    <dgm:pt modelId="{E727E3E4-ACBC-4316-B42C-00C68F3797F0}" type="sibTrans" cxnId="{00497EF6-086E-40D8-802A-090EE237E1D8}">
      <dgm:prSet/>
      <dgm:spPr/>
      <dgm:t>
        <a:bodyPr/>
        <a:lstStyle/>
        <a:p>
          <a:endParaRPr lang="en-US"/>
        </a:p>
      </dgm:t>
    </dgm:pt>
    <dgm:pt modelId="{64AC0A19-F9CB-43B5-8461-FBC9A8196FCC}">
      <dgm:prSet/>
      <dgm:spPr/>
      <dgm:t>
        <a:bodyPr/>
        <a:lstStyle/>
        <a:p>
          <a:r>
            <a:rPr lang="en-US" baseline="0" dirty="0"/>
            <a:t>Degraded performance when reused plan is not optimal for all parameter values</a:t>
          </a:r>
          <a:endParaRPr lang="en-US" dirty="0"/>
        </a:p>
      </dgm:t>
    </dgm:pt>
    <dgm:pt modelId="{68A19E74-60ED-47E0-A4A4-E39197735101}" type="sibTrans" cxnId="{98EAA028-F102-4E5F-8483-C37187F1D2FB}">
      <dgm:prSet/>
      <dgm:spPr/>
      <dgm:t>
        <a:bodyPr/>
        <a:lstStyle/>
        <a:p>
          <a:endParaRPr lang="en-US"/>
        </a:p>
      </dgm:t>
    </dgm:pt>
    <dgm:pt modelId="{EA06E01D-77CF-4997-857D-D00B73698F49}" type="parTrans" cxnId="{98EAA028-F102-4E5F-8483-C37187F1D2FB}">
      <dgm:prSet/>
      <dgm:spPr/>
      <dgm:t>
        <a:bodyPr/>
        <a:lstStyle/>
        <a:p>
          <a:endParaRPr lang="en-US"/>
        </a:p>
      </dgm:t>
    </dgm:pt>
    <dgm:pt modelId="{66A0F6DE-DD9E-4924-B806-5E7747BA683D}">
      <dgm:prSet custT="1"/>
      <dgm:spPr/>
      <dgm:t>
        <a:bodyPr/>
        <a:lstStyle/>
        <a:p>
          <a:r>
            <a:rPr lang="en-US" sz="2400" dirty="0"/>
            <a:t>Benefit</a:t>
          </a:r>
        </a:p>
      </dgm:t>
    </dgm:pt>
    <dgm:pt modelId="{B85E5AA6-F03B-4BB0-8038-7E1B56E21362}" type="parTrans" cxnId="{138E2403-BE4B-44AB-BB7C-1DB0C2FD55E1}">
      <dgm:prSet/>
      <dgm:spPr/>
      <dgm:t>
        <a:bodyPr/>
        <a:lstStyle/>
        <a:p>
          <a:endParaRPr lang="en-US"/>
        </a:p>
      </dgm:t>
    </dgm:pt>
    <dgm:pt modelId="{72FE561F-D1D7-4CA9-B499-BA8DE3B5DA43}" type="sibTrans" cxnId="{138E2403-BE4B-44AB-BB7C-1DB0C2FD55E1}">
      <dgm:prSet/>
      <dgm:spPr/>
      <dgm:t>
        <a:bodyPr/>
        <a:lstStyle/>
        <a:p>
          <a:endParaRPr lang="en-US"/>
        </a:p>
      </dgm:t>
    </dgm:pt>
    <dgm:pt modelId="{EFA8FBAE-5BD2-47B9-AB4F-60BD9E3C3F30}">
      <dgm:prSet custT="1"/>
      <dgm:spPr/>
      <dgm:t>
        <a:bodyPr/>
        <a:lstStyle/>
        <a:p>
          <a:r>
            <a:rPr lang="en-US" sz="2400" dirty="0"/>
            <a:t>Drawback</a:t>
          </a:r>
        </a:p>
      </dgm:t>
    </dgm:pt>
    <dgm:pt modelId="{95DB631C-2D3F-41E6-A363-B0E9471AC120}" type="parTrans" cxnId="{E0872A53-B0DC-4983-A494-284BD23CCDEB}">
      <dgm:prSet/>
      <dgm:spPr/>
      <dgm:t>
        <a:bodyPr/>
        <a:lstStyle/>
        <a:p>
          <a:endParaRPr lang="en-US"/>
        </a:p>
      </dgm:t>
    </dgm:pt>
    <dgm:pt modelId="{31DB386E-3A23-4BB8-A758-87695A6613C2}" type="sibTrans" cxnId="{E0872A53-B0DC-4983-A494-284BD23CCDEB}">
      <dgm:prSet/>
      <dgm:spPr/>
      <dgm:t>
        <a:bodyPr/>
        <a:lstStyle/>
        <a:p>
          <a:endParaRPr lang="en-US"/>
        </a:p>
      </dgm:t>
    </dgm:pt>
    <dgm:pt modelId="{A3775955-7798-4A71-89E9-456FBB9C8523}" type="pres">
      <dgm:prSet presAssocID="{C2BB4C4D-6A2A-4D52-A7B2-3DD1BC67C1AE}" presName="Name0" presStyleCnt="0">
        <dgm:presLayoutVars>
          <dgm:dir/>
          <dgm:animLvl val="lvl"/>
          <dgm:resizeHandles val="exact"/>
        </dgm:presLayoutVars>
      </dgm:prSet>
      <dgm:spPr/>
    </dgm:pt>
    <dgm:pt modelId="{595D44B6-783E-421E-B194-36603BD536FE}" type="pres">
      <dgm:prSet presAssocID="{66A0F6DE-DD9E-4924-B806-5E7747BA683D}" presName="composite" presStyleCnt="0"/>
      <dgm:spPr/>
    </dgm:pt>
    <dgm:pt modelId="{C8EA2300-0902-41CF-8DE3-EF1333A19D2A}" type="pres">
      <dgm:prSet presAssocID="{66A0F6DE-DD9E-4924-B806-5E7747BA683D}" presName="parTx" presStyleLbl="alignNode1" presStyleIdx="0" presStyleCnt="2">
        <dgm:presLayoutVars>
          <dgm:chMax val="0"/>
          <dgm:chPref val="0"/>
          <dgm:bulletEnabled val="1"/>
        </dgm:presLayoutVars>
      </dgm:prSet>
      <dgm:spPr/>
    </dgm:pt>
    <dgm:pt modelId="{BAD13D12-81A5-4696-8F90-2CDFECF2217D}" type="pres">
      <dgm:prSet presAssocID="{66A0F6DE-DD9E-4924-B806-5E7747BA683D}" presName="desTx" presStyleLbl="alignAccFollowNode1" presStyleIdx="0" presStyleCnt="2">
        <dgm:presLayoutVars>
          <dgm:bulletEnabled val="1"/>
        </dgm:presLayoutVars>
      </dgm:prSet>
      <dgm:spPr/>
    </dgm:pt>
    <dgm:pt modelId="{BA378507-37E3-4441-8B3D-4B018C2C9CDB}" type="pres">
      <dgm:prSet presAssocID="{72FE561F-D1D7-4CA9-B499-BA8DE3B5DA43}" presName="space" presStyleCnt="0"/>
      <dgm:spPr/>
    </dgm:pt>
    <dgm:pt modelId="{D74E899B-2966-40DC-B6AD-6B334723EFD1}" type="pres">
      <dgm:prSet presAssocID="{EFA8FBAE-5BD2-47B9-AB4F-60BD9E3C3F30}" presName="composite" presStyleCnt="0"/>
      <dgm:spPr/>
    </dgm:pt>
    <dgm:pt modelId="{00C82F43-D0EC-4416-9542-381A0C09BD27}" type="pres">
      <dgm:prSet presAssocID="{EFA8FBAE-5BD2-47B9-AB4F-60BD9E3C3F30}" presName="parTx" presStyleLbl="alignNode1" presStyleIdx="1" presStyleCnt="2">
        <dgm:presLayoutVars>
          <dgm:chMax val="0"/>
          <dgm:chPref val="0"/>
          <dgm:bulletEnabled val="1"/>
        </dgm:presLayoutVars>
      </dgm:prSet>
      <dgm:spPr/>
    </dgm:pt>
    <dgm:pt modelId="{2F8EF1CB-44EC-4B3D-B02F-AB0D218C0B47}" type="pres">
      <dgm:prSet presAssocID="{EFA8FBAE-5BD2-47B9-AB4F-60BD9E3C3F30}" presName="desTx" presStyleLbl="alignAccFollowNode1" presStyleIdx="1" presStyleCnt="2">
        <dgm:presLayoutVars>
          <dgm:bulletEnabled val="1"/>
        </dgm:presLayoutVars>
      </dgm:prSet>
      <dgm:spPr/>
    </dgm:pt>
  </dgm:ptLst>
  <dgm:cxnLst>
    <dgm:cxn modelId="{138E2403-BE4B-44AB-BB7C-1DB0C2FD55E1}" srcId="{C2BB4C4D-6A2A-4D52-A7B2-3DD1BC67C1AE}" destId="{66A0F6DE-DD9E-4924-B806-5E7747BA683D}" srcOrd="0" destOrd="0" parTransId="{B85E5AA6-F03B-4BB0-8038-7E1B56E21362}" sibTransId="{72FE561F-D1D7-4CA9-B499-BA8DE3B5DA43}"/>
    <dgm:cxn modelId="{98EAA028-F102-4E5F-8483-C37187F1D2FB}" srcId="{EFA8FBAE-5BD2-47B9-AB4F-60BD9E3C3F30}" destId="{64AC0A19-F9CB-43B5-8461-FBC9A8196FCC}" srcOrd="0" destOrd="0" parTransId="{EA06E01D-77CF-4997-857D-D00B73698F49}" sibTransId="{68A19E74-60ED-47E0-A4A4-E39197735101}"/>
    <dgm:cxn modelId="{E0872A53-B0DC-4983-A494-284BD23CCDEB}" srcId="{C2BB4C4D-6A2A-4D52-A7B2-3DD1BC67C1AE}" destId="{EFA8FBAE-5BD2-47B9-AB4F-60BD9E3C3F30}" srcOrd="1" destOrd="0" parTransId="{95DB631C-2D3F-41E6-A363-B0E9471AC120}" sibTransId="{31DB386E-3A23-4BB8-A758-87695A6613C2}"/>
    <dgm:cxn modelId="{FFC1538A-0CDF-4CDB-90F0-7A77E2E871CF}" type="presOf" srcId="{64AC0A19-F9CB-43B5-8461-FBC9A8196FCC}" destId="{2F8EF1CB-44EC-4B3D-B02F-AB0D218C0B47}" srcOrd="0" destOrd="0" presId="urn:microsoft.com/office/officeart/2005/8/layout/hList1"/>
    <dgm:cxn modelId="{55B4D297-5249-4ACD-B35A-7DEE1A79CCA8}" type="presOf" srcId="{EFA8FBAE-5BD2-47B9-AB4F-60BD9E3C3F30}" destId="{00C82F43-D0EC-4416-9542-381A0C09BD27}" srcOrd="0" destOrd="0" presId="urn:microsoft.com/office/officeart/2005/8/layout/hList1"/>
    <dgm:cxn modelId="{6A5972A3-8D51-421A-9C3D-11871E8E59D5}" type="presOf" srcId="{66A0F6DE-DD9E-4924-B806-5E7747BA683D}" destId="{C8EA2300-0902-41CF-8DE3-EF1333A19D2A}" srcOrd="0" destOrd="0" presId="urn:microsoft.com/office/officeart/2005/8/layout/hList1"/>
    <dgm:cxn modelId="{7755FCBD-081F-4E47-B969-A48511AECDD4}" type="presOf" srcId="{02C37799-61AD-4F0A-A12B-784AB963A475}" destId="{BAD13D12-81A5-4696-8F90-2CDFECF2217D}" srcOrd="0" destOrd="0" presId="urn:microsoft.com/office/officeart/2005/8/layout/hList1"/>
    <dgm:cxn modelId="{CE40ABBE-22B4-448C-AB4D-92CD096180E8}" type="presOf" srcId="{C2BB4C4D-6A2A-4D52-A7B2-3DD1BC67C1AE}" destId="{A3775955-7798-4A71-89E9-456FBB9C8523}" srcOrd="0" destOrd="0" presId="urn:microsoft.com/office/officeart/2005/8/layout/hList1"/>
    <dgm:cxn modelId="{00497EF6-086E-40D8-802A-090EE237E1D8}" srcId="{66A0F6DE-DD9E-4924-B806-5E7747BA683D}" destId="{02C37799-61AD-4F0A-A12B-784AB963A475}" srcOrd="0" destOrd="0" parTransId="{6DAD55D5-C023-4FC0-863B-DF551DE12024}" sibTransId="{E727E3E4-ACBC-4316-B42C-00C68F3797F0}"/>
    <dgm:cxn modelId="{8F01A741-0C0E-4ACA-9AFF-1FB19FC7E764}" type="presParOf" srcId="{A3775955-7798-4A71-89E9-456FBB9C8523}" destId="{595D44B6-783E-421E-B194-36603BD536FE}" srcOrd="0" destOrd="0" presId="urn:microsoft.com/office/officeart/2005/8/layout/hList1"/>
    <dgm:cxn modelId="{787A832A-6ECF-41AA-8D66-A5FD9BB0CE83}" type="presParOf" srcId="{595D44B6-783E-421E-B194-36603BD536FE}" destId="{C8EA2300-0902-41CF-8DE3-EF1333A19D2A}" srcOrd="0" destOrd="0" presId="urn:microsoft.com/office/officeart/2005/8/layout/hList1"/>
    <dgm:cxn modelId="{BD583637-DA0E-4ED2-9F4B-21C0BC934FBB}" type="presParOf" srcId="{595D44B6-783E-421E-B194-36603BD536FE}" destId="{BAD13D12-81A5-4696-8F90-2CDFECF2217D}" srcOrd="1" destOrd="0" presId="urn:microsoft.com/office/officeart/2005/8/layout/hList1"/>
    <dgm:cxn modelId="{27CD0FBF-303F-4411-A168-E10D07DDB126}" type="presParOf" srcId="{A3775955-7798-4A71-89E9-456FBB9C8523}" destId="{BA378507-37E3-4441-8B3D-4B018C2C9CDB}" srcOrd="1" destOrd="0" presId="urn:microsoft.com/office/officeart/2005/8/layout/hList1"/>
    <dgm:cxn modelId="{D44299B8-6378-45E3-9C14-F8564255B008}" type="presParOf" srcId="{A3775955-7798-4A71-89E9-456FBB9C8523}" destId="{D74E899B-2966-40DC-B6AD-6B334723EFD1}" srcOrd="2" destOrd="0" presId="urn:microsoft.com/office/officeart/2005/8/layout/hList1"/>
    <dgm:cxn modelId="{278E2156-46D0-4B9F-A250-48FD00EB4062}" type="presParOf" srcId="{D74E899B-2966-40DC-B6AD-6B334723EFD1}" destId="{00C82F43-D0EC-4416-9542-381A0C09BD27}" srcOrd="0" destOrd="0" presId="urn:microsoft.com/office/officeart/2005/8/layout/hList1"/>
    <dgm:cxn modelId="{EA731C24-9BB8-41DE-AEB9-49F1D9DDB64A}" type="presParOf" srcId="{D74E899B-2966-40DC-B6AD-6B334723EFD1}" destId="{2F8EF1CB-44EC-4B3D-B02F-AB0D218C0B4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2BB4C4D-6A2A-4D52-A7B2-3DD1BC67C1AE}" type="doc">
      <dgm:prSet loTypeId="urn:microsoft.com/office/officeart/2005/8/layout/arrow6" loCatId="relationship" qsTypeId="urn:microsoft.com/office/officeart/2005/8/quickstyle/simple1" qsCatId="simple" csTypeId="urn:microsoft.com/office/officeart/2005/8/colors/accent6_2" csCatId="accent6" phldr="1"/>
      <dgm:spPr/>
      <dgm:t>
        <a:bodyPr/>
        <a:lstStyle/>
        <a:p>
          <a:endParaRPr lang="en-US"/>
        </a:p>
      </dgm:t>
    </dgm:pt>
    <dgm:pt modelId="{117B3CD5-38BD-46D1-B0E2-325B40325721}">
      <dgm:prSet/>
      <dgm:spPr/>
      <dgm:t>
        <a:bodyPr/>
        <a:lstStyle/>
        <a:p>
          <a:pPr algn="ctr"/>
          <a:r>
            <a:rPr lang="en-US" baseline="0" dirty="0"/>
            <a:t>Parameter Sniffing</a:t>
          </a:r>
          <a:endParaRPr lang="en-US" dirty="0"/>
        </a:p>
      </dgm:t>
    </dgm:pt>
    <dgm:pt modelId="{EB194D97-7ED6-411B-B21E-F4AEF359C847}" type="parTrans" cxnId="{2E3705FA-0833-4733-BDFC-438AC7B0F98F}">
      <dgm:prSet/>
      <dgm:spPr/>
      <dgm:t>
        <a:bodyPr/>
        <a:lstStyle/>
        <a:p>
          <a:endParaRPr lang="en-US"/>
        </a:p>
      </dgm:t>
    </dgm:pt>
    <dgm:pt modelId="{AA4AAB29-8D94-4B28-8998-5140C86C355D}" type="sibTrans" cxnId="{2E3705FA-0833-4733-BDFC-438AC7B0F98F}">
      <dgm:prSet/>
      <dgm:spPr/>
      <dgm:t>
        <a:bodyPr/>
        <a:lstStyle/>
        <a:p>
          <a:endParaRPr lang="en-US"/>
        </a:p>
      </dgm:t>
    </dgm:pt>
    <dgm:pt modelId="{DAAD3C80-15E2-4C62-90F9-D3A68C29395B}">
      <dgm:prSet/>
      <dgm:spPr/>
      <dgm:t>
        <a:bodyPr/>
        <a:lstStyle/>
        <a:p>
          <a:pPr rtl="0"/>
          <a:r>
            <a:rPr lang="en-US" baseline="0" dirty="0"/>
            <a:t>Optimizer’s ability to see (sniff) parameter values at compile time and so create a cost-effective execution plan</a:t>
          </a:r>
          <a:r>
            <a:rPr lang="en-US" baseline="0" dirty="0">
              <a:latin typeface="Segoe UI Semibold"/>
            </a:rPr>
            <a:t>.  </a:t>
          </a:r>
          <a:endParaRPr lang="en-US" b="1" dirty="0"/>
        </a:p>
      </dgm:t>
    </dgm:pt>
    <dgm:pt modelId="{323286F1-B937-4C7E-9CC8-671AB2A92E45}" type="parTrans" cxnId="{D095AE43-8A6F-4758-9A3C-AA38240D2DA8}">
      <dgm:prSet/>
      <dgm:spPr/>
      <dgm:t>
        <a:bodyPr/>
        <a:lstStyle/>
        <a:p>
          <a:endParaRPr lang="en-US"/>
        </a:p>
      </dgm:t>
    </dgm:pt>
    <dgm:pt modelId="{9B45E7DD-F046-4C2E-BA48-9A09B25C1AAE}" type="sibTrans" cxnId="{D095AE43-8A6F-4758-9A3C-AA38240D2DA8}">
      <dgm:prSet/>
      <dgm:spPr/>
      <dgm:t>
        <a:bodyPr/>
        <a:lstStyle/>
        <a:p>
          <a:endParaRPr lang="en-US"/>
        </a:p>
      </dgm:t>
    </dgm:pt>
    <dgm:pt modelId="{3BB68028-0FF7-4CE3-BD36-B5E680159F89}">
      <dgm:prSet/>
      <dgm:spPr/>
      <dgm:t>
        <a:bodyPr/>
        <a:lstStyle/>
        <a:p>
          <a:pPr algn="ctr"/>
          <a:r>
            <a:rPr lang="en-US" baseline="0" dirty="0"/>
            <a:t>Recompile hints</a:t>
          </a:r>
          <a:endParaRPr lang="en-US" dirty="0"/>
        </a:p>
      </dgm:t>
    </dgm:pt>
    <dgm:pt modelId="{21148237-9CA7-4235-B42B-BD8E18F8292B}" type="parTrans" cxnId="{BD161744-3055-4366-8E6F-FCB94E6B2297}">
      <dgm:prSet/>
      <dgm:spPr/>
      <dgm:t>
        <a:bodyPr/>
        <a:lstStyle/>
        <a:p>
          <a:endParaRPr lang="en-US"/>
        </a:p>
      </dgm:t>
    </dgm:pt>
    <dgm:pt modelId="{E7DCD27E-52B8-44A7-A86E-39C465D32656}" type="sibTrans" cxnId="{BD161744-3055-4366-8E6F-FCB94E6B2297}">
      <dgm:prSet/>
      <dgm:spPr/>
      <dgm:t>
        <a:bodyPr/>
        <a:lstStyle/>
        <a:p>
          <a:endParaRPr lang="en-US"/>
        </a:p>
      </dgm:t>
    </dgm:pt>
    <dgm:pt modelId="{41A5CBAC-3AEE-4A86-812C-3A3A58061674}">
      <dgm:prSet/>
      <dgm:spPr/>
      <dgm:t>
        <a:bodyPr/>
        <a:lstStyle/>
        <a:p>
          <a:r>
            <a:rPr lang="en-US" baseline="0" dirty="0"/>
            <a:t>Prevent caching of plans at the object or statement (preferred) level</a:t>
          </a:r>
          <a:endParaRPr lang="en-US" dirty="0"/>
        </a:p>
      </dgm:t>
    </dgm:pt>
    <dgm:pt modelId="{B12F2A2D-9383-4A57-88D8-05FCF6392B9C}" type="parTrans" cxnId="{32F06807-6AFB-494B-BE0B-96C603DFC6BB}">
      <dgm:prSet/>
      <dgm:spPr/>
      <dgm:t>
        <a:bodyPr/>
        <a:lstStyle/>
        <a:p>
          <a:endParaRPr lang="en-US"/>
        </a:p>
      </dgm:t>
    </dgm:pt>
    <dgm:pt modelId="{F4B99681-99AB-465F-9749-BC5871392F5B}" type="sibTrans" cxnId="{32F06807-6AFB-494B-BE0B-96C603DFC6BB}">
      <dgm:prSet/>
      <dgm:spPr/>
      <dgm:t>
        <a:bodyPr/>
        <a:lstStyle/>
        <a:p>
          <a:endParaRPr lang="en-US"/>
        </a:p>
      </dgm:t>
    </dgm:pt>
    <dgm:pt modelId="{BB5098A9-E3B1-46A0-8557-4BCFBDE36F20}">
      <dgm:prSet/>
      <dgm:spPr/>
      <dgm:t>
        <a:bodyPr/>
        <a:lstStyle/>
        <a:p>
          <a:r>
            <a:rPr lang="en-US" baseline="0" dirty="0"/>
            <a:t>sp_recompile &lt;object_name&gt; to manually force recompilation</a:t>
          </a:r>
          <a:endParaRPr lang="en-US" dirty="0"/>
        </a:p>
      </dgm:t>
    </dgm:pt>
    <dgm:pt modelId="{99F81B8A-CE95-4142-AC6F-602713430FDE}" type="parTrans" cxnId="{459B5D9F-ABFC-444C-BF32-8E4718D2C0ED}">
      <dgm:prSet/>
      <dgm:spPr/>
      <dgm:t>
        <a:bodyPr/>
        <a:lstStyle/>
        <a:p>
          <a:endParaRPr lang="en-US"/>
        </a:p>
      </dgm:t>
    </dgm:pt>
    <dgm:pt modelId="{1E535CD7-6E21-43F5-88F9-B32760082811}" type="sibTrans" cxnId="{459B5D9F-ABFC-444C-BF32-8E4718D2C0ED}">
      <dgm:prSet/>
      <dgm:spPr/>
      <dgm:t>
        <a:bodyPr/>
        <a:lstStyle/>
        <a:p>
          <a:endParaRPr lang="en-US"/>
        </a:p>
      </dgm:t>
    </dgm:pt>
    <dgm:pt modelId="{DEF0FA18-D445-4B13-9E8E-9D15473DC6C5}">
      <dgm:prSet/>
      <dgm:spPr/>
      <dgm:t>
        <a:bodyPr/>
        <a:lstStyle/>
        <a:p>
          <a:r>
            <a:rPr lang="en-US" b="0" u="sng" dirty="0"/>
            <a:t>Only</a:t>
          </a:r>
          <a:r>
            <a:rPr lang="en-US" b="0" dirty="0"/>
            <a:t> p</a:t>
          </a:r>
          <a:r>
            <a:rPr lang="en-US" dirty="0"/>
            <a:t>roblematic when compile parameters aren’t representative</a:t>
          </a:r>
        </a:p>
      </dgm:t>
    </dgm:pt>
    <dgm:pt modelId="{1FEA1664-2335-4E87-A830-AECA7BC0C3F1}" type="parTrans" cxnId="{43F20BD5-1CCA-4024-9819-00EBA8E2E23D}">
      <dgm:prSet/>
      <dgm:spPr/>
      <dgm:t>
        <a:bodyPr/>
        <a:lstStyle/>
        <a:p>
          <a:endParaRPr lang="en-US"/>
        </a:p>
      </dgm:t>
    </dgm:pt>
    <dgm:pt modelId="{C7051F27-8633-43DE-BA70-34EF39043703}" type="sibTrans" cxnId="{43F20BD5-1CCA-4024-9819-00EBA8E2E23D}">
      <dgm:prSet/>
      <dgm:spPr/>
      <dgm:t>
        <a:bodyPr/>
        <a:lstStyle/>
        <a:p>
          <a:endParaRPr lang="en-US"/>
        </a:p>
      </dgm:t>
    </dgm:pt>
    <dgm:pt modelId="{98848F1D-3267-43A9-B73D-9581BEE36F7E}">
      <dgm:prSet/>
      <dgm:spPr/>
      <dgm:t>
        <a:bodyPr/>
        <a:lstStyle/>
        <a:p>
          <a:r>
            <a:rPr lang="en-US" b="0" baseline="0" dirty="0"/>
            <a:t>This is generally beneficial.</a:t>
          </a:r>
          <a:endParaRPr lang="en-US" b="0" dirty="0"/>
        </a:p>
      </dgm:t>
    </dgm:pt>
    <dgm:pt modelId="{1C0489F3-F2C2-4FFD-A5E3-156380D6289A}" type="parTrans" cxnId="{6AFEDE10-4E77-434C-8D7C-50B604AC7639}">
      <dgm:prSet/>
      <dgm:spPr/>
      <dgm:t>
        <a:bodyPr/>
        <a:lstStyle/>
        <a:p>
          <a:endParaRPr lang="en-US"/>
        </a:p>
      </dgm:t>
    </dgm:pt>
    <dgm:pt modelId="{83CB7A03-7BD7-4379-BA08-73A5714011A5}" type="sibTrans" cxnId="{6AFEDE10-4E77-434C-8D7C-50B604AC7639}">
      <dgm:prSet/>
      <dgm:spPr/>
      <dgm:t>
        <a:bodyPr/>
        <a:lstStyle/>
        <a:p>
          <a:endParaRPr lang="en-US"/>
        </a:p>
      </dgm:t>
    </dgm:pt>
    <dgm:pt modelId="{5C06F45D-F2C9-4732-858E-9BCD450AD6D7}" type="pres">
      <dgm:prSet presAssocID="{C2BB4C4D-6A2A-4D52-A7B2-3DD1BC67C1AE}" presName="compositeShape" presStyleCnt="0">
        <dgm:presLayoutVars>
          <dgm:chMax val="2"/>
          <dgm:dir/>
          <dgm:resizeHandles val="exact"/>
        </dgm:presLayoutVars>
      </dgm:prSet>
      <dgm:spPr/>
    </dgm:pt>
    <dgm:pt modelId="{61E681C0-A19D-42B4-9C8C-3286F68DB5FB}" type="pres">
      <dgm:prSet presAssocID="{C2BB4C4D-6A2A-4D52-A7B2-3DD1BC67C1AE}" presName="ribbon" presStyleLbl="node1" presStyleIdx="0" presStyleCnt="1" custScaleX="132014"/>
      <dgm:spPr/>
    </dgm:pt>
    <dgm:pt modelId="{765C8ED6-EAE6-4CF5-AD1F-6474517BD6D5}" type="pres">
      <dgm:prSet presAssocID="{C2BB4C4D-6A2A-4D52-A7B2-3DD1BC67C1AE}" presName="leftArrowText" presStyleLbl="node1" presStyleIdx="0" presStyleCnt="1" custScaleX="116701" custLinFactNeighborX="-11429">
        <dgm:presLayoutVars>
          <dgm:chMax val="0"/>
          <dgm:bulletEnabled val="1"/>
        </dgm:presLayoutVars>
      </dgm:prSet>
      <dgm:spPr/>
    </dgm:pt>
    <dgm:pt modelId="{B1F73455-BB74-4E53-B758-E009DED876F4}" type="pres">
      <dgm:prSet presAssocID="{C2BB4C4D-6A2A-4D52-A7B2-3DD1BC67C1AE}" presName="rightArrowText" presStyleLbl="node1" presStyleIdx="0" presStyleCnt="1" custScaleX="119297" custLinFactNeighborX="21276" custLinFactNeighborY="-2195">
        <dgm:presLayoutVars>
          <dgm:chMax val="0"/>
          <dgm:bulletEnabled val="1"/>
        </dgm:presLayoutVars>
      </dgm:prSet>
      <dgm:spPr/>
    </dgm:pt>
  </dgm:ptLst>
  <dgm:cxnLst>
    <dgm:cxn modelId="{32F06807-6AFB-494B-BE0B-96C603DFC6BB}" srcId="{3BB68028-0FF7-4CE3-BD36-B5E680159F89}" destId="{41A5CBAC-3AEE-4A86-812C-3A3A58061674}" srcOrd="0" destOrd="0" parTransId="{B12F2A2D-9383-4A57-88D8-05FCF6392B9C}" sibTransId="{F4B99681-99AB-465F-9749-BC5871392F5B}"/>
    <dgm:cxn modelId="{98A73C0C-DA74-4504-BC1C-240ACC2C089C}" type="presOf" srcId="{3BB68028-0FF7-4CE3-BD36-B5E680159F89}" destId="{B1F73455-BB74-4E53-B758-E009DED876F4}" srcOrd="0" destOrd="0" presId="urn:microsoft.com/office/officeart/2005/8/layout/arrow6"/>
    <dgm:cxn modelId="{6AFEDE10-4E77-434C-8D7C-50B604AC7639}" srcId="{117B3CD5-38BD-46D1-B0E2-325B40325721}" destId="{98848F1D-3267-43A9-B73D-9581BEE36F7E}" srcOrd="1" destOrd="0" parTransId="{1C0489F3-F2C2-4FFD-A5E3-156380D6289A}" sibTransId="{83CB7A03-7BD7-4379-BA08-73A5714011A5}"/>
    <dgm:cxn modelId="{3E8CB634-52A6-4171-A6F5-75E32CD04033}" type="presOf" srcId="{117B3CD5-38BD-46D1-B0E2-325B40325721}" destId="{765C8ED6-EAE6-4CF5-AD1F-6474517BD6D5}" srcOrd="0" destOrd="0" presId="urn:microsoft.com/office/officeart/2005/8/layout/arrow6"/>
    <dgm:cxn modelId="{DA619342-DE3C-4570-ACBB-EE9E0A6DFC22}" type="presOf" srcId="{41A5CBAC-3AEE-4A86-812C-3A3A58061674}" destId="{B1F73455-BB74-4E53-B758-E009DED876F4}" srcOrd="0" destOrd="1" presId="urn:microsoft.com/office/officeart/2005/8/layout/arrow6"/>
    <dgm:cxn modelId="{D095AE43-8A6F-4758-9A3C-AA38240D2DA8}" srcId="{117B3CD5-38BD-46D1-B0E2-325B40325721}" destId="{DAAD3C80-15E2-4C62-90F9-D3A68C29395B}" srcOrd="0" destOrd="0" parTransId="{323286F1-B937-4C7E-9CC8-671AB2A92E45}" sibTransId="{9B45E7DD-F046-4C2E-BA48-9A09B25C1AAE}"/>
    <dgm:cxn modelId="{BD161744-3055-4366-8E6F-FCB94E6B2297}" srcId="{C2BB4C4D-6A2A-4D52-A7B2-3DD1BC67C1AE}" destId="{3BB68028-0FF7-4CE3-BD36-B5E680159F89}" srcOrd="1" destOrd="0" parTransId="{21148237-9CA7-4235-B42B-BD8E18F8292B}" sibTransId="{E7DCD27E-52B8-44A7-A86E-39C465D32656}"/>
    <dgm:cxn modelId="{8202B495-0E99-461A-A37D-6AAD799BDA9F}" type="presOf" srcId="{C2BB4C4D-6A2A-4D52-A7B2-3DD1BC67C1AE}" destId="{5C06F45D-F2C9-4732-858E-9BCD450AD6D7}" srcOrd="0" destOrd="0" presId="urn:microsoft.com/office/officeart/2005/8/layout/arrow6"/>
    <dgm:cxn modelId="{459B5D9F-ABFC-444C-BF32-8E4718D2C0ED}" srcId="{3BB68028-0FF7-4CE3-BD36-B5E680159F89}" destId="{BB5098A9-E3B1-46A0-8557-4BCFBDE36F20}" srcOrd="1" destOrd="0" parTransId="{99F81B8A-CE95-4142-AC6F-602713430FDE}" sibTransId="{1E535CD7-6E21-43F5-88F9-B32760082811}"/>
    <dgm:cxn modelId="{34BF3AB1-F0DA-4EF4-9895-EB5C800CBF2F}" type="presOf" srcId="{BB5098A9-E3B1-46A0-8557-4BCFBDE36F20}" destId="{B1F73455-BB74-4E53-B758-E009DED876F4}" srcOrd="0" destOrd="2" presId="urn:microsoft.com/office/officeart/2005/8/layout/arrow6"/>
    <dgm:cxn modelId="{52F0C3B6-ECE7-41C0-9053-D30EB865FE9D}" type="presOf" srcId="{98848F1D-3267-43A9-B73D-9581BEE36F7E}" destId="{765C8ED6-EAE6-4CF5-AD1F-6474517BD6D5}" srcOrd="0" destOrd="2" presId="urn:microsoft.com/office/officeart/2005/8/layout/arrow6"/>
    <dgm:cxn modelId="{236413BB-6262-44C9-9565-1277D90875DB}" type="presOf" srcId="{DEF0FA18-D445-4B13-9E8E-9D15473DC6C5}" destId="{765C8ED6-EAE6-4CF5-AD1F-6474517BD6D5}" srcOrd="0" destOrd="3" presId="urn:microsoft.com/office/officeart/2005/8/layout/arrow6"/>
    <dgm:cxn modelId="{BA759BBC-A33F-496F-BB3B-C78B01BD0F68}" type="presOf" srcId="{DAAD3C80-15E2-4C62-90F9-D3A68C29395B}" destId="{765C8ED6-EAE6-4CF5-AD1F-6474517BD6D5}" srcOrd="0" destOrd="1" presId="urn:microsoft.com/office/officeart/2005/8/layout/arrow6"/>
    <dgm:cxn modelId="{43F20BD5-1CCA-4024-9819-00EBA8E2E23D}" srcId="{117B3CD5-38BD-46D1-B0E2-325B40325721}" destId="{DEF0FA18-D445-4B13-9E8E-9D15473DC6C5}" srcOrd="2" destOrd="0" parTransId="{1FEA1664-2335-4E87-A830-AECA7BC0C3F1}" sibTransId="{C7051F27-8633-43DE-BA70-34EF39043703}"/>
    <dgm:cxn modelId="{2E3705FA-0833-4733-BDFC-438AC7B0F98F}" srcId="{C2BB4C4D-6A2A-4D52-A7B2-3DD1BC67C1AE}" destId="{117B3CD5-38BD-46D1-B0E2-325B40325721}" srcOrd="0" destOrd="0" parTransId="{EB194D97-7ED6-411B-B21E-F4AEF359C847}" sibTransId="{AA4AAB29-8D94-4B28-8998-5140C86C355D}"/>
    <dgm:cxn modelId="{92121B88-15A0-423F-9DB7-78EB8DD59B06}" type="presParOf" srcId="{5C06F45D-F2C9-4732-858E-9BCD450AD6D7}" destId="{61E681C0-A19D-42B4-9C8C-3286F68DB5FB}" srcOrd="0" destOrd="0" presId="urn:microsoft.com/office/officeart/2005/8/layout/arrow6"/>
    <dgm:cxn modelId="{A6A10B1D-1ACD-43E3-B9AF-867850ED583B}" type="presParOf" srcId="{5C06F45D-F2C9-4732-858E-9BCD450AD6D7}" destId="{765C8ED6-EAE6-4CF5-AD1F-6474517BD6D5}" srcOrd="1" destOrd="0" presId="urn:microsoft.com/office/officeart/2005/8/layout/arrow6"/>
    <dgm:cxn modelId="{0651D622-828F-4AC3-97C6-B380650328D5}" type="presParOf" srcId="{5C06F45D-F2C9-4732-858E-9BCD450AD6D7}" destId="{B1F73455-BB74-4E53-B758-E009DED876F4}" srcOrd="2" destOrd="0" presId="urn:microsoft.com/office/officeart/2005/8/layout/arrow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AU"/>
        </a:p>
      </dgm:t>
    </dgm:pt>
    <dgm:pt modelId="{CDCA19B1-3B45-4B24-8F19-085A650701BC}">
      <dgm:prSet custT="1"/>
      <dgm:spPr/>
      <dgm:t>
        <a:bodyPr/>
        <a:lstStyle/>
        <a:p>
          <a:r>
            <a:rPr lang="en-US" sz="2400" dirty="0"/>
            <a:t>Is the size of the plan cache fixed?</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How long do query plans remain in the plan cach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y is plan caching helpful?</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custT="1"/>
      <dgm:spPr/>
      <dgm:t>
        <a:bodyPr/>
        <a:lstStyle/>
        <a:p>
          <a:r>
            <a:rPr lang="en-US" sz="2400" dirty="0"/>
            <a:t>Why are </a:t>
          </a:r>
          <a:r>
            <a:rPr lang="en-US" sz="2400" i="1" dirty="0"/>
            <a:t>ad hoc </a:t>
          </a:r>
          <a:r>
            <a:rPr lang="en-US" sz="2400" dirty="0"/>
            <a:t>query plans sometimes problematic?</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custT="1"/>
      <dgm:spPr/>
      <dgm:t>
        <a:bodyPr/>
        <a:lstStyle/>
        <a:p>
          <a:r>
            <a:rPr lang="en-US" sz="2400" dirty="0"/>
            <a:t>What can be done to address a parameter sniffing issue?</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72607BAA-6FB5-4319-98ED-63364F299559}">
      <dgm:prSet custT="1"/>
      <dgm:spPr/>
      <dgm:t>
        <a:bodyPr/>
        <a:lstStyle/>
        <a:p>
          <a:r>
            <a:rPr lang="en-US" sz="2400" dirty="0"/>
            <a:t>What can be done to lessen the impact of an </a:t>
          </a:r>
          <a:r>
            <a:rPr lang="en-US" sz="2400" i="1" dirty="0"/>
            <a:t>ad hoc </a:t>
          </a:r>
          <a:r>
            <a:rPr lang="en-US" sz="2400" dirty="0"/>
            <a:t>workload?</a:t>
          </a:r>
        </a:p>
      </dgm:t>
    </dgm:pt>
    <dgm:pt modelId="{3BDC5BA6-C401-413B-A0B5-B2C1795B8BF0}" type="parTrans" cxnId="{B7E02D0B-BFE7-4E8F-9147-8CE2A0F40E38}">
      <dgm:prSet/>
      <dgm:spPr/>
      <dgm:t>
        <a:bodyPr/>
        <a:lstStyle/>
        <a:p>
          <a:endParaRPr lang="en-US"/>
        </a:p>
      </dgm:t>
    </dgm:pt>
    <dgm:pt modelId="{9E517E35-548C-4FDC-9251-0C9FE45D5208}" type="sibTrans" cxnId="{B7E02D0B-BFE7-4E8F-9147-8CE2A0F40E38}">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D5774165-7248-4210-ABDB-B3EBDE700FEB}" type="pres">
      <dgm:prSet presAssocID="{72607BAA-6FB5-4319-98ED-63364F299559}" presName="parentText" presStyleLbl="node1" presStyleIdx="4" presStyleCnt="6">
        <dgm:presLayoutVars>
          <dgm:chMax val="0"/>
          <dgm:bulletEnabled val="1"/>
        </dgm:presLayoutVars>
      </dgm:prSet>
      <dgm:spPr/>
    </dgm:pt>
    <dgm:pt modelId="{3166E4B6-8FE6-45C8-ADBE-8B61C0C8A1B1}" type="pres">
      <dgm:prSet presAssocID="{9E517E35-548C-4FDC-9251-0C9FE45D5208}" presName="spacer" presStyleCnt="0"/>
      <dgm:spPr/>
    </dgm:pt>
    <dgm:pt modelId="{196D8D5C-AF3C-4B3F-BC76-432EBE3C6399}" type="pres">
      <dgm:prSet presAssocID="{F8131A31-16A9-4040-8773-13EAB223AACD}"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B7E02D0B-BFE7-4E8F-9147-8CE2A0F40E38}" srcId="{15A7774C-B622-4F48-8F7B-AF1AAB74E997}" destId="{72607BAA-6FB5-4319-98ED-63364F299559}" srcOrd="4" destOrd="0" parTransId="{3BDC5BA6-C401-413B-A0B5-B2C1795B8BF0}" sibTransId="{9E517E35-548C-4FDC-9251-0C9FE45D5208}"/>
    <dgm:cxn modelId="{61B9891E-F9D4-4D0B-B764-7A78A5588301}" srcId="{15A7774C-B622-4F48-8F7B-AF1AAB74E997}" destId="{F8131A31-16A9-4040-8773-13EAB223AACD}" srcOrd="5"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FB75B666-FDD4-40D3-B702-7860633045B8}" type="presOf" srcId="{72607BAA-6FB5-4319-98ED-63364F299559}" destId="{D5774165-7248-4210-ABDB-B3EBDE700FEB}"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6D783DD5-3075-4E90-8D44-05BE385F10F6}" type="presParOf" srcId="{97400BD5-14CE-4761-8A6A-64BC46D23158}" destId="{D5774165-7248-4210-ABDB-B3EBDE700FEB}" srcOrd="8" destOrd="0" presId="urn:microsoft.com/office/officeart/2005/8/layout/vList2"/>
    <dgm:cxn modelId="{B2E849B3-BF56-4A72-938D-1510CDF3611A}" type="presParOf" srcId="{97400BD5-14CE-4761-8A6A-64BC46D23158}" destId="{3166E4B6-8FE6-45C8-ADBE-8B61C0C8A1B1}" srcOrd="9" destOrd="0" presId="urn:microsoft.com/office/officeart/2005/8/layout/vList2"/>
    <dgm:cxn modelId="{54DBC56F-D6DE-42C8-9459-B589A2697E6A}" type="presParOf" srcId="{97400BD5-14CE-4761-8A6A-64BC46D23158}" destId="{196D8D5C-AF3C-4B3F-BC76-432EBE3C6399}"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950D69A-B4C4-4450-BCFC-84B629AA5A1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2C4B7335-B467-4918-B668-3524E374C463}">
      <dgm:prSet/>
      <dgm:spPr/>
      <dgm:t>
        <a:bodyPr/>
        <a:lstStyle/>
        <a:p>
          <a:r>
            <a:rPr lang="en-US" baseline="0"/>
            <a:t>Query Store is set at the database level</a:t>
          </a:r>
          <a:endParaRPr lang="en-US"/>
        </a:p>
      </dgm:t>
    </dgm:pt>
    <dgm:pt modelId="{C36DEB12-EA22-45C4-9E1C-1DACA284DEF0}" type="parTrans" cxnId="{1E7FA22A-45B1-4973-A946-3071E39D5BB5}">
      <dgm:prSet/>
      <dgm:spPr/>
      <dgm:t>
        <a:bodyPr/>
        <a:lstStyle/>
        <a:p>
          <a:endParaRPr lang="en-US"/>
        </a:p>
      </dgm:t>
    </dgm:pt>
    <dgm:pt modelId="{B130EE0F-BA0B-4A94-9F91-B9614EBC16D2}" type="sibTrans" cxnId="{1E7FA22A-45B1-4973-A946-3071E39D5BB5}">
      <dgm:prSet/>
      <dgm:spPr/>
      <dgm:t>
        <a:bodyPr/>
        <a:lstStyle/>
        <a:p>
          <a:endParaRPr lang="en-US"/>
        </a:p>
      </dgm:t>
    </dgm:pt>
    <dgm:pt modelId="{6ADB4DF6-ABB6-418E-B184-DFA82A0FA5D7}">
      <dgm:prSet/>
      <dgm:spPr/>
      <dgm:t>
        <a:bodyPr/>
        <a:lstStyle/>
        <a:p>
          <a:r>
            <a:rPr lang="en-US" baseline="0"/>
            <a:t>Cannot be used for Master or TempDB system databases but can be enabled for the Model and MSDB system databases. </a:t>
          </a:r>
          <a:endParaRPr lang="en-US"/>
        </a:p>
      </dgm:t>
    </dgm:pt>
    <dgm:pt modelId="{D32006BC-5049-47C9-872B-BC6264BC4320}" type="parTrans" cxnId="{B2C5F22A-1154-4396-B85D-6D2890494171}">
      <dgm:prSet/>
      <dgm:spPr/>
      <dgm:t>
        <a:bodyPr/>
        <a:lstStyle/>
        <a:p>
          <a:endParaRPr lang="en-US"/>
        </a:p>
      </dgm:t>
    </dgm:pt>
    <dgm:pt modelId="{896CC959-BCFF-43D2-BF06-6EE1B9338ECD}" type="sibTrans" cxnId="{B2C5F22A-1154-4396-B85D-6D2890494171}">
      <dgm:prSet/>
      <dgm:spPr/>
      <dgm:t>
        <a:bodyPr/>
        <a:lstStyle/>
        <a:p>
          <a:endParaRPr lang="en-US"/>
        </a:p>
      </dgm:t>
    </dgm:pt>
    <dgm:pt modelId="{C3DF81AB-B1E7-4911-A96B-89BDA8D12FCD}">
      <dgm:prSet/>
      <dgm:spPr/>
      <dgm:t>
        <a:bodyPr/>
        <a:lstStyle/>
        <a:p>
          <a:r>
            <a:rPr lang="en-US" baseline="0"/>
            <a:t>The user database stores the data in internal tables that can be accessed by using built-in Query Store views.</a:t>
          </a:r>
          <a:endParaRPr lang="en-US"/>
        </a:p>
      </dgm:t>
    </dgm:pt>
    <dgm:pt modelId="{FD3BBE37-302D-4020-A4A6-24953DF5FF98}" type="parTrans" cxnId="{D2FBCE22-DDB0-4909-9DD0-4024360EAD47}">
      <dgm:prSet/>
      <dgm:spPr/>
      <dgm:t>
        <a:bodyPr/>
        <a:lstStyle/>
        <a:p>
          <a:endParaRPr lang="en-US"/>
        </a:p>
      </dgm:t>
    </dgm:pt>
    <dgm:pt modelId="{561C3878-050B-4EDB-B23C-AFBB31A7F42F}" type="sibTrans" cxnId="{D2FBCE22-DDB0-4909-9DD0-4024360EAD47}">
      <dgm:prSet/>
      <dgm:spPr/>
      <dgm:t>
        <a:bodyPr/>
        <a:lstStyle/>
        <a:p>
          <a:endParaRPr lang="en-US"/>
        </a:p>
      </dgm:t>
    </dgm:pt>
    <dgm:pt modelId="{674276A8-5429-479B-8CEE-FEF0863C4011}">
      <dgm:prSet/>
      <dgm:spPr/>
      <dgm:t>
        <a:bodyPr/>
        <a:lstStyle/>
        <a:p>
          <a:r>
            <a:rPr lang="en-GB" baseline="0"/>
            <a:t>SQL Server retains this data until the space allocated to Query Store is full or manually purged.</a:t>
          </a:r>
          <a:endParaRPr lang="en-US"/>
        </a:p>
      </dgm:t>
    </dgm:pt>
    <dgm:pt modelId="{FD135FB4-BC70-4D2F-ADDB-ECE1A9F1E2BD}" type="parTrans" cxnId="{BBC539D5-F1C8-48C6-B2B9-5DB6657BE048}">
      <dgm:prSet/>
      <dgm:spPr/>
      <dgm:t>
        <a:bodyPr/>
        <a:lstStyle/>
        <a:p>
          <a:endParaRPr lang="en-US"/>
        </a:p>
      </dgm:t>
    </dgm:pt>
    <dgm:pt modelId="{7E5869E8-F9B4-45D7-8A89-C2888CC9C83A}" type="sibTrans" cxnId="{BBC539D5-F1C8-48C6-B2B9-5DB6657BE048}">
      <dgm:prSet/>
      <dgm:spPr/>
      <dgm:t>
        <a:bodyPr/>
        <a:lstStyle/>
        <a:p>
          <a:endParaRPr lang="en-US"/>
        </a:p>
      </dgm:t>
    </dgm:pt>
    <dgm:pt modelId="{963F6DFE-6996-487C-8994-4DDCF160D8DA}" type="pres">
      <dgm:prSet presAssocID="{C950D69A-B4C4-4450-BCFC-84B629AA5A19}" presName="linear" presStyleCnt="0">
        <dgm:presLayoutVars>
          <dgm:animLvl val="lvl"/>
          <dgm:resizeHandles val="exact"/>
        </dgm:presLayoutVars>
      </dgm:prSet>
      <dgm:spPr/>
    </dgm:pt>
    <dgm:pt modelId="{6C3C3109-A4B9-4C66-9825-7FC920D24281}" type="pres">
      <dgm:prSet presAssocID="{2C4B7335-B467-4918-B668-3524E374C463}" presName="parentText" presStyleLbl="node1" presStyleIdx="0" presStyleCnt="4">
        <dgm:presLayoutVars>
          <dgm:chMax val="0"/>
          <dgm:bulletEnabled val="1"/>
        </dgm:presLayoutVars>
      </dgm:prSet>
      <dgm:spPr/>
    </dgm:pt>
    <dgm:pt modelId="{16C69748-D113-4CEC-BB7E-5FC5DA593B12}" type="pres">
      <dgm:prSet presAssocID="{B130EE0F-BA0B-4A94-9F91-B9614EBC16D2}" presName="spacer" presStyleCnt="0"/>
      <dgm:spPr/>
    </dgm:pt>
    <dgm:pt modelId="{940AAA97-0AD4-43AE-8A9E-D67C5192BF98}" type="pres">
      <dgm:prSet presAssocID="{6ADB4DF6-ABB6-418E-B184-DFA82A0FA5D7}" presName="parentText" presStyleLbl="node1" presStyleIdx="1" presStyleCnt="4">
        <dgm:presLayoutVars>
          <dgm:chMax val="0"/>
          <dgm:bulletEnabled val="1"/>
        </dgm:presLayoutVars>
      </dgm:prSet>
      <dgm:spPr/>
    </dgm:pt>
    <dgm:pt modelId="{5A51948E-30D8-4094-8A73-8B96D142FBC9}" type="pres">
      <dgm:prSet presAssocID="{896CC959-BCFF-43D2-BF06-6EE1B9338ECD}" presName="spacer" presStyleCnt="0"/>
      <dgm:spPr/>
    </dgm:pt>
    <dgm:pt modelId="{B405DF18-C403-4EF0-AEB4-ADB4779EBB5A}" type="pres">
      <dgm:prSet presAssocID="{C3DF81AB-B1E7-4911-A96B-89BDA8D12FCD}" presName="parentText" presStyleLbl="node1" presStyleIdx="2" presStyleCnt="4">
        <dgm:presLayoutVars>
          <dgm:chMax val="0"/>
          <dgm:bulletEnabled val="1"/>
        </dgm:presLayoutVars>
      </dgm:prSet>
      <dgm:spPr/>
    </dgm:pt>
    <dgm:pt modelId="{93E08F4F-88C4-4546-9F28-41A70D945209}" type="pres">
      <dgm:prSet presAssocID="{561C3878-050B-4EDB-B23C-AFBB31A7F42F}" presName="spacer" presStyleCnt="0"/>
      <dgm:spPr/>
    </dgm:pt>
    <dgm:pt modelId="{769C1E20-379B-47E6-908D-ECB246999F97}" type="pres">
      <dgm:prSet presAssocID="{674276A8-5429-479B-8CEE-FEF0863C4011}" presName="parentText" presStyleLbl="node1" presStyleIdx="3" presStyleCnt="4">
        <dgm:presLayoutVars>
          <dgm:chMax val="0"/>
          <dgm:bulletEnabled val="1"/>
        </dgm:presLayoutVars>
      </dgm:prSet>
      <dgm:spPr/>
    </dgm:pt>
  </dgm:ptLst>
  <dgm:cxnLst>
    <dgm:cxn modelId="{D2FBCE22-DDB0-4909-9DD0-4024360EAD47}" srcId="{C950D69A-B4C4-4450-BCFC-84B629AA5A19}" destId="{C3DF81AB-B1E7-4911-A96B-89BDA8D12FCD}" srcOrd="2" destOrd="0" parTransId="{FD3BBE37-302D-4020-A4A6-24953DF5FF98}" sibTransId="{561C3878-050B-4EDB-B23C-AFBB31A7F42F}"/>
    <dgm:cxn modelId="{1E7FA22A-45B1-4973-A946-3071E39D5BB5}" srcId="{C950D69A-B4C4-4450-BCFC-84B629AA5A19}" destId="{2C4B7335-B467-4918-B668-3524E374C463}" srcOrd="0" destOrd="0" parTransId="{C36DEB12-EA22-45C4-9E1C-1DACA284DEF0}" sibTransId="{B130EE0F-BA0B-4A94-9F91-B9614EBC16D2}"/>
    <dgm:cxn modelId="{B2C5F22A-1154-4396-B85D-6D2890494171}" srcId="{C950D69A-B4C4-4450-BCFC-84B629AA5A19}" destId="{6ADB4DF6-ABB6-418E-B184-DFA82A0FA5D7}" srcOrd="1" destOrd="0" parTransId="{D32006BC-5049-47C9-872B-BC6264BC4320}" sibTransId="{896CC959-BCFF-43D2-BF06-6EE1B9338ECD}"/>
    <dgm:cxn modelId="{2ED1FF41-6F69-4352-A02E-9D9F9AD1A42E}" type="presOf" srcId="{C950D69A-B4C4-4450-BCFC-84B629AA5A19}" destId="{963F6DFE-6996-487C-8994-4DDCF160D8DA}" srcOrd="0" destOrd="0" presId="urn:microsoft.com/office/officeart/2005/8/layout/vList2"/>
    <dgm:cxn modelId="{5F70ACA8-D755-4C59-970B-9DF340BDBE16}" type="presOf" srcId="{C3DF81AB-B1E7-4911-A96B-89BDA8D12FCD}" destId="{B405DF18-C403-4EF0-AEB4-ADB4779EBB5A}" srcOrd="0" destOrd="0" presId="urn:microsoft.com/office/officeart/2005/8/layout/vList2"/>
    <dgm:cxn modelId="{9D55BDA9-9538-41D1-A672-6CDD820F0E15}" type="presOf" srcId="{2C4B7335-B467-4918-B668-3524E374C463}" destId="{6C3C3109-A4B9-4C66-9825-7FC920D24281}" srcOrd="0" destOrd="0" presId="urn:microsoft.com/office/officeart/2005/8/layout/vList2"/>
    <dgm:cxn modelId="{7E3D95B1-026C-444D-92AA-13FF74A40027}" type="presOf" srcId="{6ADB4DF6-ABB6-418E-B184-DFA82A0FA5D7}" destId="{940AAA97-0AD4-43AE-8A9E-D67C5192BF98}" srcOrd="0" destOrd="0" presId="urn:microsoft.com/office/officeart/2005/8/layout/vList2"/>
    <dgm:cxn modelId="{BBC539D5-F1C8-48C6-B2B9-5DB6657BE048}" srcId="{C950D69A-B4C4-4450-BCFC-84B629AA5A19}" destId="{674276A8-5429-479B-8CEE-FEF0863C4011}" srcOrd="3" destOrd="0" parTransId="{FD135FB4-BC70-4D2F-ADDB-ECE1A9F1E2BD}" sibTransId="{7E5869E8-F9B4-45D7-8A89-C2888CC9C83A}"/>
    <dgm:cxn modelId="{AFEB12D7-4285-4C60-A5AC-3659C9B974A6}" type="presOf" srcId="{674276A8-5429-479B-8CEE-FEF0863C4011}" destId="{769C1E20-379B-47E6-908D-ECB246999F97}" srcOrd="0" destOrd="0" presId="urn:microsoft.com/office/officeart/2005/8/layout/vList2"/>
    <dgm:cxn modelId="{DBD98EBF-4DA9-40AF-ABF4-9019FA86069D}" type="presParOf" srcId="{963F6DFE-6996-487C-8994-4DDCF160D8DA}" destId="{6C3C3109-A4B9-4C66-9825-7FC920D24281}" srcOrd="0" destOrd="0" presId="urn:microsoft.com/office/officeart/2005/8/layout/vList2"/>
    <dgm:cxn modelId="{9D7B2774-F04C-4C3B-85F6-534D4AB53C5D}" type="presParOf" srcId="{963F6DFE-6996-487C-8994-4DDCF160D8DA}" destId="{16C69748-D113-4CEC-BB7E-5FC5DA593B12}" srcOrd="1" destOrd="0" presId="urn:microsoft.com/office/officeart/2005/8/layout/vList2"/>
    <dgm:cxn modelId="{81AE000C-B461-4A95-A457-829DDA6C7129}" type="presParOf" srcId="{963F6DFE-6996-487C-8994-4DDCF160D8DA}" destId="{940AAA97-0AD4-43AE-8A9E-D67C5192BF98}" srcOrd="2" destOrd="0" presId="urn:microsoft.com/office/officeart/2005/8/layout/vList2"/>
    <dgm:cxn modelId="{40B08186-04AF-43F5-BAD1-4E6059722582}" type="presParOf" srcId="{963F6DFE-6996-487C-8994-4DDCF160D8DA}" destId="{5A51948E-30D8-4094-8A73-8B96D142FBC9}" srcOrd="3" destOrd="0" presId="urn:microsoft.com/office/officeart/2005/8/layout/vList2"/>
    <dgm:cxn modelId="{C4ED84BD-230C-426D-8451-B02F993255D8}" type="presParOf" srcId="{963F6DFE-6996-487C-8994-4DDCF160D8DA}" destId="{B405DF18-C403-4EF0-AEB4-ADB4779EBB5A}" srcOrd="4" destOrd="0" presId="urn:microsoft.com/office/officeart/2005/8/layout/vList2"/>
    <dgm:cxn modelId="{32A3492E-9D92-4553-A0B7-D91F55B1CFD8}" type="presParOf" srcId="{963F6DFE-6996-487C-8994-4DDCF160D8DA}" destId="{93E08F4F-88C4-4546-9F28-41A70D945209}" srcOrd="5" destOrd="0" presId="urn:microsoft.com/office/officeart/2005/8/layout/vList2"/>
    <dgm:cxn modelId="{071F5622-16F0-4D7D-9B0B-09FEAC929FA6}" type="presParOf" srcId="{963F6DFE-6996-487C-8994-4DDCF160D8DA}" destId="{769C1E20-379B-47E6-908D-ECB246999F9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FBE75E8-746F-499D-A86E-B2D332C6E2C7}" type="doc">
      <dgm:prSet loTypeId="urn:microsoft.com/office/officeart/2005/8/layout/hList1" loCatId="list" qsTypeId="urn:microsoft.com/office/officeart/2005/8/quickstyle/simple5" qsCatId="simple" csTypeId="urn:microsoft.com/office/officeart/2005/8/colors/colorful2" csCatId="colorful" phldr="1"/>
      <dgm:spPr/>
      <dgm:t>
        <a:bodyPr/>
        <a:lstStyle/>
        <a:p>
          <a:endParaRPr lang="en-US"/>
        </a:p>
      </dgm:t>
    </dgm:pt>
    <dgm:pt modelId="{B8D43C61-444E-4D46-8203-C4641DF7F65C}">
      <dgm:prSet custT="1"/>
      <dgm:spPr/>
      <dgm:t>
        <a:bodyPr/>
        <a:lstStyle/>
        <a:p>
          <a:r>
            <a:rPr lang="en-US" sz="2400" baseline="0" dirty="0"/>
            <a:t>Before Query Store</a:t>
          </a:r>
          <a:endParaRPr lang="en-US" sz="2400" dirty="0"/>
        </a:p>
      </dgm:t>
    </dgm:pt>
    <dgm:pt modelId="{9053780D-0BBD-4C41-B6E0-BD9E2762F44F}" type="parTrans" cxnId="{27C58C86-741F-454E-963A-A1ED19AAAC79}">
      <dgm:prSet/>
      <dgm:spPr/>
      <dgm:t>
        <a:bodyPr/>
        <a:lstStyle/>
        <a:p>
          <a:endParaRPr lang="en-US"/>
        </a:p>
      </dgm:t>
    </dgm:pt>
    <dgm:pt modelId="{9E5884B5-0D7E-42AC-8646-091133669794}" type="sibTrans" cxnId="{27C58C86-741F-454E-963A-A1ED19AAAC79}">
      <dgm:prSet/>
      <dgm:spPr/>
      <dgm:t>
        <a:bodyPr/>
        <a:lstStyle/>
        <a:p>
          <a:endParaRPr lang="en-US"/>
        </a:p>
      </dgm:t>
    </dgm:pt>
    <dgm:pt modelId="{BB77CBAA-BAC2-4F25-9252-CDF9FE2D2440}">
      <dgm:prSet custT="1"/>
      <dgm:spPr/>
      <dgm:t>
        <a:bodyPr/>
        <a:lstStyle/>
        <a:p>
          <a:r>
            <a:rPr lang="en-US" sz="2400" dirty="0"/>
            <a:t>Requires manual proactive monitoring to identify execution plan problems.</a:t>
          </a:r>
        </a:p>
      </dgm:t>
    </dgm:pt>
    <dgm:pt modelId="{5D06DB20-2870-432B-B8D7-FBB3329BC4E5}" type="parTrans" cxnId="{39198460-6832-42D5-84E3-D75D467DEF1C}">
      <dgm:prSet/>
      <dgm:spPr/>
      <dgm:t>
        <a:bodyPr/>
        <a:lstStyle/>
        <a:p>
          <a:endParaRPr lang="en-US"/>
        </a:p>
      </dgm:t>
    </dgm:pt>
    <dgm:pt modelId="{CD69DFF8-6A86-465E-A914-C97718DB38AC}" type="sibTrans" cxnId="{39198460-6832-42D5-84E3-D75D467DEF1C}">
      <dgm:prSet/>
      <dgm:spPr/>
      <dgm:t>
        <a:bodyPr/>
        <a:lstStyle/>
        <a:p>
          <a:endParaRPr lang="en-US"/>
        </a:p>
      </dgm:t>
    </dgm:pt>
    <dgm:pt modelId="{537A3CB7-E5E1-4790-985B-DA13D7D2AEA1}">
      <dgm:prSet custT="1"/>
      <dgm:spPr/>
      <dgm:t>
        <a:bodyPr/>
        <a:lstStyle/>
        <a:p>
          <a:r>
            <a:rPr lang="en-US" sz="2400" baseline="0" dirty="0"/>
            <a:t>Only the latest plan was stored in the procedure cache</a:t>
          </a:r>
          <a:endParaRPr lang="en-US" sz="2400" dirty="0"/>
        </a:p>
      </dgm:t>
    </dgm:pt>
    <dgm:pt modelId="{B4341261-0A08-4808-B537-46D63F9B47AC}" type="parTrans" cxnId="{5B122083-896C-4BAB-ABCC-36E82BD875C8}">
      <dgm:prSet/>
      <dgm:spPr/>
      <dgm:t>
        <a:bodyPr/>
        <a:lstStyle/>
        <a:p>
          <a:endParaRPr lang="en-US"/>
        </a:p>
      </dgm:t>
    </dgm:pt>
    <dgm:pt modelId="{B8058058-DDFC-4569-B150-59146E9EA175}" type="sibTrans" cxnId="{5B122083-896C-4BAB-ABCC-36E82BD875C8}">
      <dgm:prSet/>
      <dgm:spPr/>
      <dgm:t>
        <a:bodyPr/>
        <a:lstStyle/>
        <a:p>
          <a:endParaRPr lang="en-US"/>
        </a:p>
      </dgm:t>
    </dgm:pt>
    <dgm:pt modelId="{10D8AC69-0B74-4EB4-8DFB-8B94B153163A}">
      <dgm:prSet custT="1"/>
      <dgm:spPr/>
      <dgm:t>
        <a:bodyPr/>
        <a:lstStyle/>
        <a:p>
          <a:r>
            <a:rPr lang="en-US" sz="2400" baseline="0" dirty="0"/>
            <a:t>Restart caused data to be lost</a:t>
          </a:r>
          <a:endParaRPr lang="en-US" sz="2400" dirty="0"/>
        </a:p>
      </dgm:t>
    </dgm:pt>
    <dgm:pt modelId="{1865415B-C9CE-4585-A07D-4BE9EF265185}" type="parTrans" cxnId="{81093CBB-65DA-429F-B3A8-E37C907F45F8}">
      <dgm:prSet/>
      <dgm:spPr/>
      <dgm:t>
        <a:bodyPr/>
        <a:lstStyle/>
        <a:p>
          <a:endParaRPr lang="en-US"/>
        </a:p>
      </dgm:t>
    </dgm:pt>
    <dgm:pt modelId="{8C46AFC3-D3B0-4691-9EA5-ACEEAF03140C}" type="sibTrans" cxnId="{81093CBB-65DA-429F-B3A8-E37C907F45F8}">
      <dgm:prSet/>
      <dgm:spPr/>
      <dgm:t>
        <a:bodyPr/>
        <a:lstStyle/>
        <a:p>
          <a:endParaRPr lang="en-US"/>
        </a:p>
      </dgm:t>
    </dgm:pt>
    <dgm:pt modelId="{D739869A-0F1D-4AD3-9A40-3EA24E038514}">
      <dgm:prSet custT="1"/>
      <dgm:spPr/>
      <dgm:t>
        <a:bodyPr/>
        <a:lstStyle/>
        <a:p>
          <a:r>
            <a:rPr lang="en-US" sz="2400" baseline="0" dirty="0"/>
            <a:t>No history or aggregated gathering of data available.</a:t>
          </a:r>
          <a:endParaRPr lang="en-US" sz="2400" dirty="0"/>
        </a:p>
      </dgm:t>
    </dgm:pt>
    <dgm:pt modelId="{D0B48814-2511-45A1-A196-56B641164435}" type="parTrans" cxnId="{AA4D8AC2-BCFF-4C39-AD7B-D2353DFA0CD5}">
      <dgm:prSet/>
      <dgm:spPr/>
      <dgm:t>
        <a:bodyPr/>
        <a:lstStyle/>
        <a:p>
          <a:endParaRPr lang="en-US"/>
        </a:p>
      </dgm:t>
    </dgm:pt>
    <dgm:pt modelId="{59728870-D2B8-4C95-ABF8-C374F6680319}" type="sibTrans" cxnId="{AA4D8AC2-BCFF-4C39-AD7B-D2353DFA0CD5}">
      <dgm:prSet/>
      <dgm:spPr/>
      <dgm:t>
        <a:bodyPr/>
        <a:lstStyle/>
        <a:p>
          <a:endParaRPr lang="en-US"/>
        </a:p>
      </dgm:t>
    </dgm:pt>
    <dgm:pt modelId="{E38E5E12-F27D-4C86-BDD7-9EE68F87C37A}">
      <dgm:prSet custT="1"/>
      <dgm:spPr/>
      <dgm:t>
        <a:bodyPr/>
        <a:lstStyle/>
        <a:p>
          <a:r>
            <a:rPr lang="en-US" sz="2400" dirty="0"/>
            <a:t>Frequent recompiles of procedures or use of DBCC FREEPROCACHE</a:t>
          </a:r>
        </a:p>
      </dgm:t>
    </dgm:pt>
    <dgm:pt modelId="{688A2AE3-BD93-4F55-9ABE-A413E00DAE2C}" type="parTrans" cxnId="{221A323A-4A57-4C81-9669-85E17AADA53C}">
      <dgm:prSet/>
      <dgm:spPr/>
      <dgm:t>
        <a:bodyPr/>
        <a:lstStyle/>
        <a:p>
          <a:endParaRPr lang="en-US"/>
        </a:p>
      </dgm:t>
    </dgm:pt>
    <dgm:pt modelId="{150DD33F-97FF-4CA0-8BBE-AB859D3060FE}" type="sibTrans" cxnId="{221A323A-4A57-4C81-9669-85E17AADA53C}">
      <dgm:prSet/>
      <dgm:spPr/>
      <dgm:t>
        <a:bodyPr/>
        <a:lstStyle/>
        <a:p>
          <a:endParaRPr lang="en-US"/>
        </a:p>
      </dgm:t>
    </dgm:pt>
    <dgm:pt modelId="{D9B6BAAC-0B63-4D00-9071-3049825CE4DF}">
      <dgm:prSet custT="1"/>
      <dgm:spPr/>
      <dgm:t>
        <a:bodyPr/>
        <a:lstStyle/>
        <a:p>
          <a:r>
            <a:rPr lang="en-US" sz="2400"/>
            <a:t>It works across server restarts, upgrades, and query recompilation</a:t>
          </a:r>
          <a:endParaRPr lang="en-US" sz="2400" dirty="0"/>
        </a:p>
      </dgm:t>
    </dgm:pt>
    <dgm:pt modelId="{B51AB559-A448-4235-8405-E31B278559D5}" type="sibTrans" cxnId="{B6C17115-6362-4E74-A704-1E27E61644AD}">
      <dgm:prSet/>
      <dgm:spPr/>
      <dgm:t>
        <a:bodyPr/>
        <a:lstStyle/>
        <a:p>
          <a:endParaRPr lang="en-US"/>
        </a:p>
      </dgm:t>
    </dgm:pt>
    <dgm:pt modelId="{35DC8202-892A-4316-8A4F-9F2711987889}" type="parTrans" cxnId="{B6C17115-6362-4E74-A704-1E27E61644AD}">
      <dgm:prSet/>
      <dgm:spPr/>
      <dgm:t>
        <a:bodyPr/>
        <a:lstStyle/>
        <a:p>
          <a:endParaRPr lang="en-US"/>
        </a:p>
      </dgm:t>
    </dgm:pt>
    <dgm:pt modelId="{EA33F7BB-9DB6-4895-AED3-2EFF50EA879B}">
      <dgm:prSet custT="1"/>
      <dgm:spPr/>
      <dgm:t>
        <a:bodyPr/>
        <a:lstStyle/>
        <a:p>
          <a:r>
            <a:rPr lang="en-US" sz="2400" dirty="0"/>
            <a:t>With Query Store</a:t>
          </a:r>
        </a:p>
      </dgm:t>
    </dgm:pt>
    <dgm:pt modelId="{A0BB21BD-0995-4709-9B99-967C1D425F2F}" type="sibTrans" cxnId="{1CCADBAF-99F9-4C98-B4F6-67E304F972FF}">
      <dgm:prSet/>
      <dgm:spPr/>
      <dgm:t>
        <a:bodyPr/>
        <a:lstStyle/>
        <a:p>
          <a:endParaRPr lang="en-US"/>
        </a:p>
      </dgm:t>
    </dgm:pt>
    <dgm:pt modelId="{CD4452B7-70A5-465C-9738-63EC902152CB}" type="parTrans" cxnId="{1CCADBAF-99F9-4C98-B4F6-67E304F972FF}">
      <dgm:prSet/>
      <dgm:spPr/>
      <dgm:t>
        <a:bodyPr/>
        <a:lstStyle/>
        <a:p>
          <a:endParaRPr lang="en-US"/>
        </a:p>
      </dgm:t>
    </dgm:pt>
    <dgm:pt modelId="{3B888F1F-4DCE-4220-A5B6-263D63DD2740}">
      <dgm:prSet custT="1"/>
      <dgm:spPr/>
      <dgm:t>
        <a:bodyPr/>
        <a:lstStyle/>
        <a:p>
          <a:r>
            <a:rPr lang="en-US" sz="2400"/>
            <a:t>It stores the history of the execution plans for each query</a:t>
          </a:r>
          <a:endParaRPr lang="en-US" sz="2400" dirty="0"/>
        </a:p>
      </dgm:t>
    </dgm:pt>
    <dgm:pt modelId="{E4A1A934-0238-4612-8D9B-1A9F78035FAA}" type="sibTrans" cxnId="{00674137-93A4-4803-8F7B-34C9F7E48ACC}">
      <dgm:prSet/>
      <dgm:spPr/>
      <dgm:t>
        <a:bodyPr/>
        <a:lstStyle/>
        <a:p>
          <a:endParaRPr lang="en-US"/>
        </a:p>
      </dgm:t>
    </dgm:pt>
    <dgm:pt modelId="{3D7D4B14-6864-47F4-ACF8-11333CDC3AF5}" type="parTrans" cxnId="{00674137-93A4-4803-8F7B-34C9F7E48ACC}">
      <dgm:prSet/>
      <dgm:spPr/>
      <dgm:t>
        <a:bodyPr/>
        <a:lstStyle/>
        <a:p>
          <a:endParaRPr lang="en-US"/>
        </a:p>
      </dgm:t>
    </dgm:pt>
    <dgm:pt modelId="{956EF688-3D04-4307-B311-64B5417C5E66}">
      <dgm:prSet custT="1"/>
      <dgm:spPr/>
      <dgm:t>
        <a:bodyPr/>
        <a:lstStyle/>
        <a:p>
          <a:r>
            <a:rPr lang="en-US" sz="2400"/>
            <a:t>It establishes a performance baseline for each plan over time</a:t>
          </a:r>
          <a:endParaRPr lang="en-US" sz="2400" dirty="0"/>
        </a:p>
      </dgm:t>
    </dgm:pt>
    <dgm:pt modelId="{42E44964-0602-4B92-84EE-302AADEF124B}" type="sibTrans" cxnId="{4CB25709-3064-4090-8EEE-BE0CB23C933B}">
      <dgm:prSet/>
      <dgm:spPr/>
      <dgm:t>
        <a:bodyPr/>
        <a:lstStyle/>
        <a:p>
          <a:endParaRPr lang="en-US"/>
        </a:p>
      </dgm:t>
    </dgm:pt>
    <dgm:pt modelId="{544A0746-912A-492F-8D20-049272139CDC}" type="parTrans" cxnId="{4CB25709-3064-4090-8EEE-BE0CB23C933B}">
      <dgm:prSet/>
      <dgm:spPr/>
      <dgm:t>
        <a:bodyPr/>
        <a:lstStyle/>
        <a:p>
          <a:endParaRPr lang="en-US"/>
        </a:p>
      </dgm:t>
    </dgm:pt>
    <dgm:pt modelId="{B8252222-156E-4DA8-A1E7-2B0B5D067240}">
      <dgm:prSet custT="1"/>
      <dgm:spPr/>
      <dgm:t>
        <a:bodyPr/>
        <a:lstStyle/>
        <a:p>
          <a:r>
            <a:rPr lang="en-US" sz="2400" dirty="0"/>
            <a:t>It identifies queries that may have regressed</a:t>
          </a:r>
        </a:p>
      </dgm:t>
    </dgm:pt>
    <dgm:pt modelId="{DA368932-EE90-407B-8A5A-4949960287CE}" type="sibTrans" cxnId="{5E5D67FD-51B2-4D15-852D-31935C689E4E}">
      <dgm:prSet/>
      <dgm:spPr/>
      <dgm:t>
        <a:bodyPr/>
        <a:lstStyle/>
        <a:p>
          <a:endParaRPr lang="en-US"/>
        </a:p>
      </dgm:t>
    </dgm:pt>
    <dgm:pt modelId="{527083CD-5341-431A-B979-78A2DDE458B4}" type="parTrans" cxnId="{5E5D67FD-51B2-4D15-852D-31935C689E4E}">
      <dgm:prSet/>
      <dgm:spPr/>
      <dgm:t>
        <a:bodyPr/>
        <a:lstStyle/>
        <a:p>
          <a:endParaRPr lang="en-US"/>
        </a:p>
      </dgm:t>
    </dgm:pt>
    <dgm:pt modelId="{9B016B37-9B94-428F-91BD-F512BB4D13E3}">
      <dgm:prSet custT="1"/>
      <dgm:spPr/>
      <dgm:t>
        <a:bodyPr/>
        <a:lstStyle/>
        <a:p>
          <a:r>
            <a:rPr lang="en-US" sz="2400"/>
            <a:t>It is possible to force plans quickly and easily</a:t>
          </a:r>
          <a:endParaRPr lang="en-US" sz="2400" dirty="0"/>
        </a:p>
      </dgm:t>
    </dgm:pt>
    <dgm:pt modelId="{EEDA3721-B505-4AA8-BA26-4AB0EAE5A2E1}" type="sibTrans" cxnId="{948580F6-9A59-49B8-B134-E17B3457A00D}">
      <dgm:prSet/>
      <dgm:spPr/>
      <dgm:t>
        <a:bodyPr/>
        <a:lstStyle/>
        <a:p>
          <a:endParaRPr lang="en-US"/>
        </a:p>
      </dgm:t>
    </dgm:pt>
    <dgm:pt modelId="{95DC1BF7-C6F6-469F-B4B2-D733AD82E6C3}" type="parTrans" cxnId="{948580F6-9A59-49B8-B134-E17B3457A00D}">
      <dgm:prSet/>
      <dgm:spPr/>
      <dgm:t>
        <a:bodyPr/>
        <a:lstStyle/>
        <a:p>
          <a:endParaRPr lang="en-US"/>
        </a:p>
      </dgm:t>
    </dgm:pt>
    <dgm:pt modelId="{A4EA9A34-C325-4BE7-ABE4-06D8524565AB}" type="pres">
      <dgm:prSet presAssocID="{CFBE75E8-746F-499D-A86E-B2D332C6E2C7}" presName="Name0" presStyleCnt="0">
        <dgm:presLayoutVars>
          <dgm:dir/>
          <dgm:animLvl val="lvl"/>
          <dgm:resizeHandles val="exact"/>
        </dgm:presLayoutVars>
      </dgm:prSet>
      <dgm:spPr/>
    </dgm:pt>
    <dgm:pt modelId="{0C432329-A844-4222-B2CE-A62A50BB1907}" type="pres">
      <dgm:prSet presAssocID="{B8D43C61-444E-4D46-8203-C4641DF7F65C}" presName="composite" presStyleCnt="0"/>
      <dgm:spPr/>
    </dgm:pt>
    <dgm:pt modelId="{C779168E-09A7-4FC7-B2EB-4BF2B3280EEA}" type="pres">
      <dgm:prSet presAssocID="{B8D43C61-444E-4D46-8203-C4641DF7F65C}" presName="parTx" presStyleLbl="alignNode1" presStyleIdx="0" presStyleCnt="2">
        <dgm:presLayoutVars>
          <dgm:chMax val="0"/>
          <dgm:chPref val="0"/>
          <dgm:bulletEnabled val="1"/>
        </dgm:presLayoutVars>
      </dgm:prSet>
      <dgm:spPr/>
    </dgm:pt>
    <dgm:pt modelId="{AD82FA61-1850-4B59-B124-9E03954BAFF0}" type="pres">
      <dgm:prSet presAssocID="{B8D43C61-444E-4D46-8203-C4641DF7F65C}" presName="desTx" presStyleLbl="alignAccFollowNode1" presStyleIdx="0" presStyleCnt="2">
        <dgm:presLayoutVars>
          <dgm:bulletEnabled val="1"/>
        </dgm:presLayoutVars>
      </dgm:prSet>
      <dgm:spPr/>
    </dgm:pt>
    <dgm:pt modelId="{2F147288-9BCE-41AC-962C-58CDF06B9B26}" type="pres">
      <dgm:prSet presAssocID="{9E5884B5-0D7E-42AC-8646-091133669794}" presName="space" presStyleCnt="0"/>
      <dgm:spPr/>
    </dgm:pt>
    <dgm:pt modelId="{159F0336-7D69-4A08-981E-D8DB57B4C584}" type="pres">
      <dgm:prSet presAssocID="{EA33F7BB-9DB6-4895-AED3-2EFF50EA879B}" presName="composite" presStyleCnt="0"/>
      <dgm:spPr/>
    </dgm:pt>
    <dgm:pt modelId="{5B3159C4-B630-46CE-86BB-39F10831FF9C}" type="pres">
      <dgm:prSet presAssocID="{EA33F7BB-9DB6-4895-AED3-2EFF50EA879B}" presName="parTx" presStyleLbl="alignNode1" presStyleIdx="1" presStyleCnt="2">
        <dgm:presLayoutVars>
          <dgm:chMax val="0"/>
          <dgm:chPref val="0"/>
          <dgm:bulletEnabled val="1"/>
        </dgm:presLayoutVars>
      </dgm:prSet>
      <dgm:spPr/>
    </dgm:pt>
    <dgm:pt modelId="{821CDC50-C3A6-405C-AC50-7346C099707C}" type="pres">
      <dgm:prSet presAssocID="{EA33F7BB-9DB6-4895-AED3-2EFF50EA879B}" presName="desTx" presStyleLbl="alignAccFollowNode1" presStyleIdx="1" presStyleCnt="2">
        <dgm:presLayoutVars>
          <dgm:bulletEnabled val="1"/>
        </dgm:presLayoutVars>
      </dgm:prSet>
      <dgm:spPr/>
    </dgm:pt>
  </dgm:ptLst>
  <dgm:cxnLst>
    <dgm:cxn modelId="{4CB25709-3064-4090-8EEE-BE0CB23C933B}" srcId="{EA33F7BB-9DB6-4895-AED3-2EFF50EA879B}" destId="{956EF688-3D04-4307-B311-64B5417C5E66}" srcOrd="1" destOrd="0" parTransId="{544A0746-912A-492F-8D20-049272139CDC}" sibTransId="{42E44964-0602-4B92-84EE-302AADEF124B}"/>
    <dgm:cxn modelId="{37658213-B7E4-4F4F-9E07-423955BCFEAD}" type="presOf" srcId="{B8252222-156E-4DA8-A1E7-2B0B5D067240}" destId="{821CDC50-C3A6-405C-AC50-7346C099707C}" srcOrd="0" destOrd="2" presId="urn:microsoft.com/office/officeart/2005/8/layout/hList1"/>
    <dgm:cxn modelId="{40CE1714-8BA5-475A-AC96-890B99C317B5}" type="presOf" srcId="{3B888F1F-4DCE-4220-A5B6-263D63DD2740}" destId="{821CDC50-C3A6-405C-AC50-7346C099707C}" srcOrd="0" destOrd="0" presId="urn:microsoft.com/office/officeart/2005/8/layout/hList1"/>
    <dgm:cxn modelId="{B6C17115-6362-4E74-A704-1E27E61644AD}" srcId="{EA33F7BB-9DB6-4895-AED3-2EFF50EA879B}" destId="{D9B6BAAC-0B63-4D00-9071-3049825CE4DF}" srcOrd="4" destOrd="0" parTransId="{35DC8202-892A-4316-8A4F-9F2711987889}" sibTransId="{B51AB559-A448-4235-8405-E31B278559D5}"/>
    <dgm:cxn modelId="{37E69721-916D-4696-9B32-5D42D092DD15}" type="presOf" srcId="{CFBE75E8-746F-499D-A86E-B2D332C6E2C7}" destId="{A4EA9A34-C325-4BE7-ABE4-06D8524565AB}" srcOrd="0" destOrd="0" presId="urn:microsoft.com/office/officeart/2005/8/layout/hList1"/>
    <dgm:cxn modelId="{D9CBFA2B-D8F3-4F74-A7E7-2B148670610D}" type="presOf" srcId="{956EF688-3D04-4307-B311-64B5417C5E66}" destId="{821CDC50-C3A6-405C-AC50-7346C099707C}" srcOrd="0" destOrd="1" presId="urn:microsoft.com/office/officeart/2005/8/layout/hList1"/>
    <dgm:cxn modelId="{00674137-93A4-4803-8F7B-34C9F7E48ACC}" srcId="{EA33F7BB-9DB6-4895-AED3-2EFF50EA879B}" destId="{3B888F1F-4DCE-4220-A5B6-263D63DD2740}" srcOrd="0" destOrd="0" parTransId="{3D7D4B14-6864-47F4-ACF8-11333CDC3AF5}" sibTransId="{E4A1A934-0238-4612-8D9B-1A9F78035FAA}"/>
    <dgm:cxn modelId="{0E90B939-1FB4-4122-B976-C667BE46AE94}" type="presOf" srcId="{E38E5E12-F27D-4C86-BDD7-9EE68F87C37A}" destId="{AD82FA61-1850-4B59-B124-9E03954BAFF0}" srcOrd="0" destOrd="3" presId="urn:microsoft.com/office/officeart/2005/8/layout/hList1"/>
    <dgm:cxn modelId="{221A323A-4A57-4C81-9669-85E17AADA53C}" srcId="{B8D43C61-444E-4D46-8203-C4641DF7F65C}" destId="{E38E5E12-F27D-4C86-BDD7-9EE68F87C37A}" srcOrd="3" destOrd="0" parTransId="{688A2AE3-BD93-4F55-9ABE-A413E00DAE2C}" sibTransId="{150DD33F-97FF-4CA0-8BBE-AB859D3060FE}"/>
    <dgm:cxn modelId="{39198460-6832-42D5-84E3-D75D467DEF1C}" srcId="{B8D43C61-444E-4D46-8203-C4641DF7F65C}" destId="{BB77CBAA-BAC2-4F25-9252-CDF9FE2D2440}" srcOrd="0" destOrd="0" parTransId="{5D06DB20-2870-432B-B8D7-FBB3329BC4E5}" sibTransId="{CD69DFF8-6A86-465E-A914-C97718DB38AC}"/>
    <dgm:cxn modelId="{AB1B126B-228A-454C-AF08-B67534928D10}" type="presOf" srcId="{537A3CB7-E5E1-4790-985B-DA13D7D2AEA1}" destId="{AD82FA61-1850-4B59-B124-9E03954BAFF0}" srcOrd="0" destOrd="1" presId="urn:microsoft.com/office/officeart/2005/8/layout/hList1"/>
    <dgm:cxn modelId="{6039A350-5489-4141-A617-0A863EA2260F}" type="presOf" srcId="{9B016B37-9B94-428F-91BD-F512BB4D13E3}" destId="{821CDC50-C3A6-405C-AC50-7346C099707C}" srcOrd="0" destOrd="3" presId="urn:microsoft.com/office/officeart/2005/8/layout/hList1"/>
    <dgm:cxn modelId="{5B122083-896C-4BAB-ABCC-36E82BD875C8}" srcId="{B8D43C61-444E-4D46-8203-C4641DF7F65C}" destId="{537A3CB7-E5E1-4790-985B-DA13D7D2AEA1}" srcOrd="1" destOrd="0" parTransId="{B4341261-0A08-4808-B537-46D63F9B47AC}" sibTransId="{B8058058-DDFC-4569-B150-59146E9EA175}"/>
    <dgm:cxn modelId="{27C58C86-741F-454E-963A-A1ED19AAAC79}" srcId="{CFBE75E8-746F-499D-A86E-B2D332C6E2C7}" destId="{B8D43C61-444E-4D46-8203-C4641DF7F65C}" srcOrd="0" destOrd="0" parTransId="{9053780D-0BBD-4C41-B6E0-BD9E2762F44F}" sibTransId="{9E5884B5-0D7E-42AC-8646-091133669794}"/>
    <dgm:cxn modelId="{64DC3887-3121-45C5-A21D-B3F95BBD4FAA}" type="presOf" srcId="{D9B6BAAC-0B63-4D00-9071-3049825CE4DF}" destId="{821CDC50-C3A6-405C-AC50-7346C099707C}" srcOrd="0" destOrd="4" presId="urn:microsoft.com/office/officeart/2005/8/layout/hList1"/>
    <dgm:cxn modelId="{A2F85E8C-890F-401C-9577-51C5D88371F5}" type="presOf" srcId="{EA33F7BB-9DB6-4895-AED3-2EFF50EA879B}" destId="{5B3159C4-B630-46CE-86BB-39F10831FF9C}" srcOrd="0" destOrd="0" presId="urn:microsoft.com/office/officeart/2005/8/layout/hList1"/>
    <dgm:cxn modelId="{B22643A3-0B0C-485C-8E2F-256A7864AF26}" type="presOf" srcId="{BB77CBAA-BAC2-4F25-9252-CDF9FE2D2440}" destId="{AD82FA61-1850-4B59-B124-9E03954BAFF0}" srcOrd="0" destOrd="0" presId="urn:microsoft.com/office/officeart/2005/8/layout/hList1"/>
    <dgm:cxn modelId="{CEDB68AC-AC9C-4FEE-A74B-5D15A291304F}" type="presOf" srcId="{10D8AC69-0B74-4EB4-8DFB-8B94B153163A}" destId="{AD82FA61-1850-4B59-B124-9E03954BAFF0}" srcOrd="0" destOrd="2" presId="urn:microsoft.com/office/officeart/2005/8/layout/hList1"/>
    <dgm:cxn modelId="{1CCADBAF-99F9-4C98-B4F6-67E304F972FF}" srcId="{CFBE75E8-746F-499D-A86E-B2D332C6E2C7}" destId="{EA33F7BB-9DB6-4895-AED3-2EFF50EA879B}" srcOrd="1" destOrd="0" parTransId="{CD4452B7-70A5-465C-9738-63EC902152CB}" sibTransId="{A0BB21BD-0995-4709-9B99-967C1D425F2F}"/>
    <dgm:cxn modelId="{81093CBB-65DA-429F-B3A8-E37C907F45F8}" srcId="{B8D43C61-444E-4D46-8203-C4641DF7F65C}" destId="{10D8AC69-0B74-4EB4-8DFB-8B94B153163A}" srcOrd="2" destOrd="0" parTransId="{1865415B-C9CE-4585-A07D-4BE9EF265185}" sibTransId="{8C46AFC3-D3B0-4691-9EA5-ACEEAF03140C}"/>
    <dgm:cxn modelId="{AA4D8AC2-BCFF-4C39-AD7B-D2353DFA0CD5}" srcId="{B8D43C61-444E-4D46-8203-C4641DF7F65C}" destId="{D739869A-0F1D-4AD3-9A40-3EA24E038514}" srcOrd="4" destOrd="0" parTransId="{D0B48814-2511-45A1-A196-56B641164435}" sibTransId="{59728870-D2B8-4C95-ABF8-C374F6680319}"/>
    <dgm:cxn modelId="{9E12FFC2-4196-49A5-BCD2-43CD3BD3AF75}" type="presOf" srcId="{D739869A-0F1D-4AD3-9A40-3EA24E038514}" destId="{AD82FA61-1850-4B59-B124-9E03954BAFF0}" srcOrd="0" destOrd="4" presId="urn:microsoft.com/office/officeart/2005/8/layout/hList1"/>
    <dgm:cxn modelId="{4FBF38C8-349B-4C53-9BE5-6661B260CCA8}" type="presOf" srcId="{B8D43C61-444E-4D46-8203-C4641DF7F65C}" destId="{C779168E-09A7-4FC7-B2EB-4BF2B3280EEA}" srcOrd="0" destOrd="0" presId="urn:microsoft.com/office/officeart/2005/8/layout/hList1"/>
    <dgm:cxn modelId="{948580F6-9A59-49B8-B134-E17B3457A00D}" srcId="{EA33F7BB-9DB6-4895-AED3-2EFF50EA879B}" destId="{9B016B37-9B94-428F-91BD-F512BB4D13E3}" srcOrd="3" destOrd="0" parTransId="{95DC1BF7-C6F6-469F-B4B2-D733AD82E6C3}" sibTransId="{EEDA3721-B505-4AA8-BA26-4AB0EAE5A2E1}"/>
    <dgm:cxn modelId="{5E5D67FD-51B2-4D15-852D-31935C689E4E}" srcId="{EA33F7BB-9DB6-4895-AED3-2EFF50EA879B}" destId="{B8252222-156E-4DA8-A1E7-2B0B5D067240}" srcOrd="2" destOrd="0" parTransId="{527083CD-5341-431A-B979-78A2DDE458B4}" sibTransId="{DA368932-EE90-407B-8A5A-4949960287CE}"/>
    <dgm:cxn modelId="{760EC40C-2035-401E-A6AF-044BF6B7ED76}" type="presParOf" srcId="{A4EA9A34-C325-4BE7-ABE4-06D8524565AB}" destId="{0C432329-A844-4222-B2CE-A62A50BB1907}" srcOrd="0" destOrd="0" presId="urn:microsoft.com/office/officeart/2005/8/layout/hList1"/>
    <dgm:cxn modelId="{F93B079A-BE1D-4BDD-95EE-38302A5AEF95}" type="presParOf" srcId="{0C432329-A844-4222-B2CE-A62A50BB1907}" destId="{C779168E-09A7-4FC7-B2EB-4BF2B3280EEA}" srcOrd="0" destOrd="0" presId="urn:microsoft.com/office/officeart/2005/8/layout/hList1"/>
    <dgm:cxn modelId="{CBCCC80C-E6D1-4AC4-BA39-A005B4215BEB}" type="presParOf" srcId="{0C432329-A844-4222-B2CE-A62A50BB1907}" destId="{AD82FA61-1850-4B59-B124-9E03954BAFF0}" srcOrd="1" destOrd="0" presId="urn:microsoft.com/office/officeart/2005/8/layout/hList1"/>
    <dgm:cxn modelId="{AA0AACE9-98DD-4581-B2D8-3629A0DB9287}" type="presParOf" srcId="{A4EA9A34-C325-4BE7-ABE4-06D8524565AB}" destId="{2F147288-9BCE-41AC-962C-58CDF06B9B26}" srcOrd="1" destOrd="0" presId="urn:microsoft.com/office/officeart/2005/8/layout/hList1"/>
    <dgm:cxn modelId="{D9724796-EBAB-409C-B99D-63F036D4A168}" type="presParOf" srcId="{A4EA9A34-C325-4BE7-ABE4-06D8524565AB}" destId="{159F0336-7D69-4A08-981E-D8DB57B4C584}" srcOrd="2" destOrd="0" presId="urn:microsoft.com/office/officeart/2005/8/layout/hList1"/>
    <dgm:cxn modelId="{CC30C96D-EA9F-46D2-A724-5C43A0496369}" type="presParOf" srcId="{159F0336-7D69-4A08-981E-D8DB57B4C584}" destId="{5B3159C4-B630-46CE-86BB-39F10831FF9C}" srcOrd="0" destOrd="0" presId="urn:microsoft.com/office/officeart/2005/8/layout/hList1"/>
    <dgm:cxn modelId="{A288C90A-7A4F-4C6F-AA1B-00C5C721E44A}" type="presParOf" srcId="{159F0336-7D69-4A08-981E-D8DB57B4C584}" destId="{821CDC50-C3A6-405C-AC50-7346C099707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03DB7B2-0FB5-423B-9260-6B04A0CF84CE}"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87366545-F361-4871-B479-66DE13D29328}">
      <dgm:prSet/>
      <dgm:spPr/>
      <dgm:t>
        <a:bodyPr/>
        <a:lstStyle/>
        <a:p>
          <a:r>
            <a:rPr lang="en-US" baseline="0" dirty="0"/>
            <a:t>Regressed queries</a:t>
          </a:r>
          <a:endParaRPr lang="en-US" dirty="0"/>
        </a:p>
      </dgm:t>
    </dgm:pt>
    <dgm:pt modelId="{82B6A24F-3192-48B9-A4A3-5987C72E8E49}" type="parTrans" cxnId="{E52F9B87-79B7-4014-A405-6919AFAC8D46}">
      <dgm:prSet/>
      <dgm:spPr/>
      <dgm:t>
        <a:bodyPr/>
        <a:lstStyle/>
        <a:p>
          <a:endParaRPr lang="en-US"/>
        </a:p>
      </dgm:t>
    </dgm:pt>
    <dgm:pt modelId="{24DF020B-CFE2-4222-B40D-D58C64E6EFC7}" type="sibTrans" cxnId="{E52F9B87-79B7-4014-A405-6919AFAC8D46}">
      <dgm:prSet/>
      <dgm:spPr/>
      <dgm:t>
        <a:bodyPr/>
        <a:lstStyle/>
        <a:p>
          <a:endParaRPr lang="en-US"/>
        </a:p>
      </dgm:t>
    </dgm:pt>
    <dgm:pt modelId="{F3F27E9F-F71A-4043-BA5B-1A6755024D42}">
      <dgm:prSet/>
      <dgm:spPr/>
      <dgm:t>
        <a:bodyPr/>
        <a:lstStyle/>
        <a:p>
          <a:r>
            <a:rPr lang="en-US" baseline="0" dirty="0"/>
            <a:t>Overall resource consumption</a:t>
          </a:r>
          <a:endParaRPr lang="en-US" dirty="0"/>
        </a:p>
      </dgm:t>
    </dgm:pt>
    <dgm:pt modelId="{0CBDC24A-3B2D-465F-8109-D5086DCE91FF}" type="parTrans" cxnId="{01EF22CA-C908-4A95-B542-2EED8679AB1C}">
      <dgm:prSet/>
      <dgm:spPr/>
      <dgm:t>
        <a:bodyPr/>
        <a:lstStyle/>
        <a:p>
          <a:endParaRPr lang="en-US"/>
        </a:p>
      </dgm:t>
    </dgm:pt>
    <dgm:pt modelId="{D1F658CC-D706-4821-AA43-6EF881B1AF1D}" type="sibTrans" cxnId="{01EF22CA-C908-4A95-B542-2EED8679AB1C}">
      <dgm:prSet/>
      <dgm:spPr/>
      <dgm:t>
        <a:bodyPr/>
        <a:lstStyle/>
        <a:p>
          <a:endParaRPr lang="en-US"/>
        </a:p>
      </dgm:t>
    </dgm:pt>
    <dgm:pt modelId="{C0FE8977-6584-4D2D-AA86-2DFC10611B9B}">
      <dgm:prSet/>
      <dgm:spPr/>
      <dgm:t>
        <a:bodyPr/>
        <a:lstStyle/>
        <a:p>
          <a:r>
            <a:rPr lang="en-US" baseline="0" dirty="0"/>
            <a:t>Top Resource-consuming queries</a:t>
          </a:r>
          <a:endParaRPr lang="en-US" dirty="0"/>
        </a:p>
      </dgm:t>
    </dgm:pt>
    <dgm:pt modelId="{C7752658-4136-4B1A-AB72-284C46BA40AB}" type="parTrans" cxnId="{3C314E44-527D-41D2-A360-A827CABBBA27}">
      <dgm:prSet/>
      <dgm:spPr/>
      <dgm:t>
        <a:bodyPr/>
        <a:lstStyle/>
        <a:p>
          <a:endParaRPr lang="en-US"/>
        </a:p>
      </dgm:t>
    </dgm:pt>
    <dgm:pt modelId="{C4D7DFA3-A49A-45D3-81A1-ECE48C83E1AD}" type="sibTrans" cxnId="{3C314E44-527D-41D2-A360-A827CABBBA27}">
      <dgm:prSet/>
      <dgm:spPr/>
      <dgm:t>
        <a:bodyPr/>
        <a:lstStyle/>
        <a:p>
          <a:endParaRPr lang="en-US"/>
        </a:p>
      </dgm:t>
    </dgm:pt>
    <dgm:pt modelId="{17FB6BD6-B1DA-4286-87F7-B6F7E04BF629}">
      <dgm:prSet/>
      <dgm:spPr/>
      <dgm:t>
        <a:bodyPr/>
        <a:lstStyle/>
        <a:p>
          <a:r>
            <a:rPr lang="en-US" baseline="0" dirty="0"/>
            <a:t>Queries with forced plans</a:t>
          </a:r>
          <a:endParaRPr lang="en-US" dirty="0"/>
        </a:p>
      </dgm:t>
    </dgm:pt>
    <dgm:pt modelId="{9280534E-DEBF-4553-A6A5-24A0E8AA83FB}" type="parTrans" cxnId="{6DB9DBC8-1575-4319-805C-A03269689343}">
      <dgm:prSet/>
      <dgm:spPr/>
      <dgm:t>
        <a:bodyPr/>
        <a:lstStyle/>
        <a:p>
          <a:endParaRPr lang="en-US"/>
        </a:p>
      </dgm:t>
    </dgm:pt>
    <dgm:pt modelId="{F2B88F53-0B28-412C-AA05-EEC6EB391B76}" type="sibTrans" cxnId="{6DB9DBC8-1575-4319-805C-A03269689343}">
      <dgm:prSet/>
      <dgm:spPr/>
      <dgm:t>
        <a:bodyPr/>
        <a:lstStyle/>
        <a:p>
          <a:endParaRPr lang="en-US"/>
        </a:p>
      </dgm:t>
    </dgm:pt>
    <dgm:pt modelId="{0C1F8DCE-22CC-4D46-8545-EEB20AFEEA8E}">
      <dgm:prSet/>
      <dgm:spPr/>
      <dgm:t>
        <a:bodyPr/>
        <a:lstStyle/>
        <a:p>
          <a:r>
            <a:rPr lang="en-US" baseline="0" dirty="0"/>
            <a:t>Queries with high variation</a:t>
          </a:r>
          <a:endParaRPr lang="en-US" dirty="0"/>
        </a:p>
      </dgm:t>
    </dgm:pt>
    <dgm:pt modelId="{5B2297B6-8D48-4620-83AE-24409738A038}" type="parTrans" cxnId="{56E7E7CC-B7C8-48DE-93B4-5CA021559767}">
      <dgm:prSet/>
      <dgm:spPr/>
      <dgm:t>
        <a:bodyPr/>
        <a:lstStyle/>
        <a:p>
          <a:endParaRPr lang="en-US"/>
        </a:p>
      </dgm:t>
    </dgm:pt>
    <dgm:pt modelId="{DE33F61E-6530-4697-8197-64ABA03ECD91}" type="sibTrans" cxnId="{56E7E7CC-B7C8-48DE-93B4-5CA021559767}">
      <dgm:prSet/>
      <dgm:spPr/>
      <dgm:t>
        <a:bodyPr/>
        <a:lstStyle/>
        <a:p>
          <a:endParaRPr lang="en-US"/>
        </a:p>
      </dgm:t>
    </dgm:pt>
    <dgm:pt modelId="{F73521D6-7A75-4EEE-B768-A398C8D6FF39}">
      <dgm:prSet/>
      <dgm:spPr/>
      <dgm:t>
        <a:bodyPr/>
        <a:lstStyle/>
        <a:p>
          <a:r>
            <a:rPr lang="en-US" baseline="0" dirty="0"/>
            <a:t>Query wait statistics</a:t>
          </a:r>
          <a:endParaRPr lang="en-US" dirty="0"/>
        </a:p>
      </dgm:t>
    </dgm:pt>
    <dgm:pt modelId="{5E311D41-8E1B-41B6-BC55-C32741ADD524}" type="parTrans" cxnId="{3E825DF1-FFF5-489F-AF17-C0BB5661783B}">
      <dgm:prSet/>
      <dgm:spPr/>
      <dgm:t>
        <a:bodyPr/>
        <a:lstStyle/>
        <a:p>
          <a:endParaRPr lang="en-US"/>
        </a:p>
      </dgm:t>
    </dgm:pt>
    <dgm:pt modelId="{F17FAECC-B3D3-462F-972E-74BC7B82CFAC}" type="sibTrans" cxnId="{3E825DF1-FFF5-489F-AF17-C0BB5661783B}">
      <dgm:prSet/>
      <dgm:spPr/>
      <dgm:t>
        <a:bodyPr/>
        <a:lstStyle/>
        <a:p>
          <a:endParaRPr lang="en-US"/>
        </a:p>
      </dgm:t>
    </dgm:pt>
    <dgm:pt modelId="{36B7BA7D-8558-42F4-8915-01F0B0941EEF}">
      <dgm:prSet/>
      <dgm:spPr/>
      <dgm:t>
        <a:bodyPr/>
        <a:lstStyle/>
        <a:p>
          <a:r>
            <a:rPr lang="en-US" baseline="0" dirty="0"/>
            <a:t>Tracked queries</a:t>
          </a:r>
          <a:endParaRPr lang="en-US" dirty="0"/>
        </a:p>
      </dgm:t>
    </dgm:pt>
    <dgm:pt modelId="{D3B6082A-C505-4309-8453-F8D1B979310B}" type="parTrans" cxnId="{9E3D4F51-DBA6-4B0A-9D13-3902B118AEF8}">
      <dgm:prSet/>
      <dgm:spPr/>
      <dgm:t>
        <a:bodyPr/>
        <a:lstStyle/>
        <a:p>
          <a:endParaRPr lang="en-US"/>
        </a:p>
      </dgm:t>
    </dgm:pt>
    <dgm:pt modelId="{657619D5-08BC-4B21-A03C-B84FB1C6CB54}" type="sibTrans" cxnId="{9E3D4F51-DBA6-4B0A-9D13-3902B118AEF8}">
      <dgm:prSet/>
      <dgm:spPr/>
      <dgm:t>
        <a:bodyPr/>
        <a:lstStyle/>
        <a:p>
          <a:endParaRPr lang="en-US"/>
        </a:p>
      </dgm:t>
    </dgm:pt>
    <dgm:pt modelId="{0F2D2D8B-0468-42A7-9A9A-D3BF4B8896F7}">
      <dgm:prSet/>
      <dgm:spPr/>
      <dgm:t>
        <a:bodyPr/>
        <a:lstStyle/>
        <a:p>
          <a:r>
            <a:rPr lang="en-US" dirty="0"/>
            <a:t>Automatic detection of queries that have begun executing more slowly</a:t>
          </a:r>
        </a:p>
      </dgm:t>
    </dgm:pt>
    <dgm:pt modelId="{DE0BC05D-64FA-4C2A-8124-A87492E40E65}" type="parTrans" cxnId="{2E56E0AC-DAE5-4489-B433-762199A89546}">
      <dgm:prSet/>
      <dgm:spPr/>
      <dgm:t>
        <a:bodyPr/>
        <a:lstStyle/>
        <a:p>
          <a:endParaRPr lang="en-US"/>
        </a:p>
      </dgm:t>
    </dgm:pt>
    <dgm:pt modelId="{CA3935D9-1912-4AD1-82E1-79D23FF3E89F}" type="sibTrans" cxnId="{2E56E0AC-DAE5-4489-B433-762199A89546}">
      <dgm:prSet/>
      <dgm:spPr/>
      <dgm:t>
        <a:bodyPr/>
        <a:lstStyle/>
        <a:p>
          <a:endParaRPr lang="en-US"/>
        </a:p>
      </dgm:t>
    </dgm:pt>
    <dgm:pt modelId="{F82A823C-0878-41C9-9614-9F6432E270D2}">
      <dgm:prSet/>
      <dgm:spPr/>
      <dgm:t>
        <a:bodyPr/>
        <a:lstStyle/>
        <a:p>
          <a:r>
            <a:rPr lang="en-US" dirty="0"/>
            <a:t>Historic view across 4 performance metrics of your choice</a:t>
          </a:r>
        </a:p>
      </dgm:t>
    </dgm:pt>
    <dgm:pt modelId="{EEF9305C-3668-4F70-92A6-D1882FBF79D0}" type="parTrans" cxnId="{F8E847D4-1783-4F37-95DF-FFD0D63CC0C4}">
      <dgm:prSet/>
      <dgm:spPr/>
      <dgm:t>
        <a:bodyPr/>
        <a:lstStyle/>
        <a:p>
          <a:endParaRPr lang="en-US"/>
        </a:p>
      </dgm:t>
    </dgm:pt>
    <dgm:pt modelId="{79C3FA0C-AF78-4DBB-9E03-001B8A8FB71F}" type="sibTrans" cxnId="{F8E847D4-1783-4F37-95DF-FFD0D63CC0C4}">
      <dgm:prSet/>
      <dgm:spPr/>
      <dgm:t>
        <a:bodyPr/>
        <a:lstStyle/>
        <a:p>
          <a:endParaRPr lang="en-US"/>
        </a:p>
      </dgm:t>
    </dgm:pt>
    <dgm:pt modelId="{403BCFA9-7D8D-4309-BCD3-EE3787469529}">
      <dgm:prSet/>
      <dgm:spPr/>
      <dgm:t>
        <a:bodyPr/>
        <a:lstStyle/>
        <a:p>
          <a:r>
            <a:rPr lang="en-US" dirty="0"/>
            <a:t>Which queries are the costliest to execute</a:t>
          </a:r>
        </a:p>
      </dgm:t>
    </dgm:pt>
    <dgm:pt modelId="{319DF5E7-DF09-4F4C-8762-62DD2D03023B}" type="parTrans" cxnId="{9CFC3DA8-16FD-42C9-A77C-0BA13D6DB4FE}">
      <dgm:prSet/>
      <dgm:spPr/>
      <dgm:t>
        <a:bodyPr/>
        <a:lstStyle/>
        <a:p>
          <a:endParaRPr lang="en-US"/>
        </a:p>
      </dgm:t>
    </dgm:pt>
    <dgm:pt modelId="{60EBC1EB-FBAC-48BD-902E-183E6BE081A4}" type="sibTrans" cxnId="{9CFC3DA8-16FD-42C9-A77C-0BA13D6DB4FE}">
      <dgm:prSet/>
      <dgm:spPr/>
      <dgm:t>
        <a:bodyPr/>
        <a:lstStyle/>
        <a:p>
          <a:endParaRPr lang="en-US"/>
        </a:p>
      </dgm:t>
    </dgm:pt>
    <dgm:pt modelId="{371ACE30-7C8C-4E75-9806-030D641AF7E8}">
      <dgm:prSet/>
      <dgm:spPr/>
      <dgm:t>
        <a:bodyPr/>
        <a:lstStyle/>
        <a:p>
          <a:r>
            <a:rPr lang="en-US" dirty="0"/>
            <a:t>Check on the performance of queries using forced plans</a:t>
          </a:r>
        </a:p>
      </dgm:t>
    </dgm:pt>
    <dgm:pt modelId="{72AA93DB-BB12-4CC4-9F27-35C29BF1B070}" type="parTrans" cxnId="{FFC3AE43-6FFC-4F7A-8D88-99009D585002}">
      <dgm:prSet/>
      <dgm:spPr/>
      <dgm:t>
        <a:bodyPr/>
        <a:lstStyle/>
        <a:p>
          <a:endParaRPr lang="en-US"/>
        </a:p>
      </dgm:t>
    </dgm:pt>
    <dgm:pt modelId="{AC1241A1-7843-42D7-A514-997A39716394}" type="sibTrans" cxnId="{FFC3AE43-6FFC-4F7A-8D88-99009D585002}">
      <dgm:prSet/>
      <dgm:spPr/>
      <dgm:t>
        <a:bodyPr/>
        <a:lstStyle/>
        <a:p>
          <a:endParaRPr lang="en-US"/>
        </a:p>
      </dgm:t>
    </dgm:pt>
    <dgm:pt modelId="{C6E183AF-55F3-4135-A350-39C948B94561}">
      <dgm:prSet/>
      <dgm:spPr/>
      <dgm:t>
        <a:bodyPr/>
        <a:lstStyle/>
        <a:p>
          <a:r>
            <a:rPr lang="en-US" dirty="0"/>
            <a:t>Inconsistently performing queries may need tuning</a:t>
          </a:r>
        </a:p>
      </dgm:t>
    </dgm:pt>
    <dgm:pt modelId="{F2FF6401-C396-4EF3-B027-2BF2B986C168}" type="parTrans" cxnId="{37C18499-3AF3-45A7-9664-48D0C5177450}">
      <dgm:prSet/>
      <dgm:spPr/>
      <dgm:t>
        <a:bodyPr/>
        <a:lstStyle/>
        <a:p>
          <a:endParaRPr lang="en-US"/>
        </a:p>
      </dgm:t>
    </dgm:pt>
    <dgm:pt modelId="{B74050BD-3E0D-49E2-A202-EA74BC81F0A8}" type="sibTrans" cxnId="{37C18499-3AF3-45A7-9664-48D0C5177450}">
      <dgm:prSet/>
      <dgm:spPr/>
      <dgm:t>
        <a:bodyPr/>
        <a:lstStyle/>
        <a:p>
          <a:endParaRPr lang="en-US"/>
        </a:p>
      </dgm:t>
    </dgm:pt>
    <dgm:pt modelId="{9269D881-41A4-492D-BA56-59C6B32ED772}">
      <dgm:prSet/>
      <dgm:spPr/>
      <dgm:t>
        <a:bodyPr/>
        <a:lstStyle/>
        <a:p>
          <a:r>
            <a:rPr lang="en-US" dirty="0"/>
            <a:t>Identify performance bottlenecks</a:t>
          </a:r>
        </a:p>
      </dgm:t>
    </dgm:pt>
    <dgm:pt modelId="{E11A6F50-D8E7-43ED-A0BF-3E2567FFA8F4}" type="parTrans" cxnId="{61908645-6635-42EB-8336-190349FBC79D}">
      <dgm:prSet/>
      <dgm:spPr/>
      <dgm:t>
        <a:bodyPr/>
        <a:lstStyle/>
        <a:p>
          <a:endParaRPr lang="en-US"/>
        </a:p>
      </dgm:t>
    </dgm:pt>
    <dgm:pt modelId="{EF7C8E51-2CAD-4AF7-BF98-24EAD3595DCF}" type="sibTrans" cxnId="{61908645-6635-42EB-8336-190349FBC79D}">
      <dgm:prSet/>
      <dgm:spPr/>
      <dgm:t>
        <a:bodyPr/>
        <a:lstStyle/>
        <a:p>
          <a:endParaRPr lang="en-US"/>
        </a:p>
      </dgm:t>
    </dgm:pt>
    <dgm:pt modelId="{8C848C16-4000-48A5-9F50-88AB50F8CC66}">
      <dgm:prSet/>
      <dgm:spPr/>
      <dgm:t>
        <a:bodyPr/>
        <a:lstStyle/>
        <a:p>
          <a:r>
            <a:rPr lang="en-US" dirty="0"/>
            <a:t>Focus on plans and metrics for a single query</a:t>
          </a:r>
        </a:p>
      </dgm:t>
    </dgm:pt>
    <dgm:pt modelId="{0DDCFC45-A57E-4E4E-BE93-5A3C29647001}" type="parTrans" cxnId="{9263717A-9B96-49F7-862D-4A78E7C402BA}">
      <dgm:prSet/>
      <dgm:spPr/>
      <dgm:t>
        <a:bodyPr/>
        <a:lstStyle/>
        <a:p>
          <a:endParaRPr lang="en-US"/>
        </a:p>
      </dgm:t>
    </dgm:pt>
    <dgm:pt modelId="{7A11E7F6-19CC-4646-8A04-2F16AB639D5F}" type="sibTrans" cxnId="{9263717A-9B96-49F7-862D-4A78E7C402BA}">
      <dgm:prSet/>
      <dgm:spPr/>
      <dgm:t>
        <a:bodyPr/>
        <a:lstStyle/>
        <a:p>
          <a:endParaRPr lang="en-US"/>
        </a:p>
      </dgm:t>
    </dgm:pt>
    <dgm:pt modelId="{FD4E2D3E-054D-40DC-B837-75741B6C5873}" type="pres">
      <dgm:prSet presAssocID="{703DB7B2-0FB5-423B-9260-6B04A0CF84CE}" presName="Name0" presStyleCnt="0">
        <dgm:presLayoutVars>
          <dgm:dir/>
          <dgm:animLvl val="lvl"/>
          <dgm:resizeHandles val="exact"/>
        </dgm:presLayoutVars>
      </dgm:prSet>
      <dgm:spPr/>
    </dgm:pt>
    <dgm:pt modelId="{E580FE1C-3427-456C-991D-8D06DB710452}" type="pres">
      <dgm:prSet presAssocID="{87366545-F361-4871-B479-66DE13D29328}" presName="linNode" presStyleCnt="0"/>
      <dgm:spPr/>
    </dgm:pt>
    <dgm:pt modelId="{C59F892A-608C-481C-9E01-C77539E39B13}" type="pres">
      <dgm:prSet presAssocID="{87366545-F361-4871-B479-66DE13D29328}" presName="parentText" presStyleLbl="node1" presStyleIdx="0" presStyleCnt="7">
        <dgm:presLayoutVars>
          <dgm:chMax val="1"/>
          <dgm:bulletEnabled val="1"/>
        </dgm:presLayoutVars>
      </dgm:prSet>
      <dgm:spPr/>
    </dgm:pt>
    <dgm:pt modelId="{67AF37FB-8950-48FC-A956-F2C23460F934}" type="pres">
      <dgm:prSet presAssocID="{87366545-F361-4871-B479-66DE13D29328}" presName="descendantText" presStyleLbl="alignAccFollowNode1" presStyleIdx="0" presStyleCnt="7">
        <dgm:presLayoutVars>
          <dgm:bulletEnabled val="1"/>
        </dgm:presLayoutVars>
      </dgm:prSet>
      <dgm:spPr/>
    </dgm:pt>
    <dgm:pt modelId="{7879D1B1-0315-44A9-9813-C0B536E1322C}" type="pres">
      <dgm:prSet presAssocID="{24DF020B-CFE2-4222-B40D-D58C64E6EFC7}" presName="sp" presStyleCnt="0"/>
      <dgm:spPr/>
    </dgm:pt>
    <dgm:pt modelId="{84F6F720-277E-4010-A8BC-360604FE4C2F}" type="pres">
      <dgm:prSet presAssocID="{F3F27E9F-F71A-4043-BA5B-1A6755024D42}" presName="linNode" presStyleCnt="0"/>
      <dgm:spPr/>
    </dgm:pt>
    <dgm:pt modelId="{88A25FF8-3784-49EC-B1C8-C5FB8E1C6FDB}" type="pres">
      <dgm:prSet presAssocID="{F3F27E9F-F71A-4043-BA5B-1A6755024D42}" presName="parentText" presStyleLbl="node1" presStyleIdx="1" presStyleCnt="7">
        <dgm:presLayoutVars>
          <dgm:chMax val="1"/>
          <dgm:bulletEnabled val="1"/>
        </dgm:presLayoutVars>
      </dgm:prSet>
      <dgm:spPr/>
    </dgm:pt>
    <dgm:pt modelId="{70A9AAC9-17D6-4F66-BA76-E8CCAA700E01}" type="pres">
      <dgm:prSet presAssocID="{F3F27E9F-F71A-4043-BA5B-1A6755024D42}" presName="descendantText" presStyleLbl="alignAccFollowNode1" presStyleIdx="1" presStyleCnt="7">
        <dgm:presLayoutVars>
          <dgm:bulletEnabled val="1"/>
        </dgm:presLayoutVars>
      </dgm:prSet>
      <dgm:spPr/>
    </dgm:pt>
    <dgm:pt modelId="{39AA4BC6-0463-4EF6-B49E-1DAE283F7F51}" type="pres">
      <dgm:prSet presAssocID="{D1F658CC-D706-4821-AA43-6EF881B1AF1D}" presName="sp" presStyleCnt="0"/>
      <dgm:spPr/>
    </dgm:pt>
    <dgm:pt modelId="{BE609E49-5B3D-4813-8FEC-385531E8DC99}" type="pres">
      <dgm:prSet presAssocID="{C0FE8977-6584-4D2D-AA86-2DFC10611B9B}" presName="linNode" presStyleCnt="0"/>
      <dgm:spPr/>
    </dgm:pt>
    <dgm:pt modelId="{FA24B684-D07D-43D3-B2EF-13567E552E53}" type="pres">
      <dgm:prSet presAssocID="{C0FE8977-6584-4D2D-AA86-2DFC10611B9B}" presName="parentText" presStyleLbl="node1" presStyleIdx="2" presStyleCnt="7">
        <dgm:presLayoutVars>
          <dgm:chMax val="1"/>
          <dgm:bulletEnabled val="1"/>
        </dgm:presLayoutVars>
      </dgm:prSet>
      <dgm:spPr/>
    </dgm:pt>
    <dgm:pt modelId="{2C66BCE4-FB4D-48BE-9712-EB30DDB31863}" type="pres">
      <dgm:prSet presAssocID="{C0FE8977-6584-4D2D-AA86-2DFC10611B9B}" presName="descendantText" presStyleLbl="alignAccFollowNode1" presStyleIdx="2" presStyleCnt="7">
        <dgm:presLayoutVars>
          <dgm:bulletEnabled val="1"/>
        </dgm:presLayoutVars>
      </dgm:prSet>
      <dgm:spPr/>
    </dgm:pt>
    <dgm:pt modelId="{500D91F8-3568-4C06-BB9B-990AE91F0F6D}" type="pres">
      <dgm:prSet presAssocID="{C4D7DFA3-A49A-45D3-81A1-ECE48C83E1AD}" presName="sp" presStyleCnt="0"/>
      <dgm:spPr/>
    </dgm:pt>
    <dgm:pt modelId="{1F8CA83F-ADA2-4405-A58B-15B336E7DE55}" type="pres">
      <dgm:prSet presAssocID="{17FB6BD6-B1DA-4286-87F7-B6F7E04BF629}" presName="linNode" presStyleCnt="0"/>
      <dgm:spPr/>
    </dgm:pt>
    <dgm:pt modelId="{0D036705-13ED-44A2-8664-C29AA07A2151}" type="pres">
      <dgm:prSet presAssocID="{17FB6BD6-B1DA-4286-87F7-B6F7E04BF629}" presName="parentText" presStyleLbl="node1" presStyleIdx="3" presStyleCnt="7">
        <dgm:presLayoutVars>
          <dgm:chMax val="1"/>
          <dgm:bulletEnabled val="1"/>
        </dgm:presLayoutVars>
      </dgm:prSet>
      <dgm:spPr/>
    </dgm:pt>
    <dgm:pt modelId="{FD4C8C8E-60CD-4605-8BEB-983B6BAB5054}" type="pres">
      <dgm:prSet presAssocID="{17FB6BD6-B1DA-4286-87F7-B6F7E04BF629}" presName="descendantText" presStyleLbl="alignAccFollowNode1" presStyleIdx="3" presStyleCnt="7">
        <dgm:presLayoutVars>
          <dgm:bulletEnabled val="1"/>
        </dgm:presLayoutVars>
      </dgm:prSet>
      <dgm:spPr/>
    </dgm:pt>
    <dgm:pt modelId="{207760FF-413C-4063-B57A-199A422343EA}" type="pres">
      <dgm:prSet presAssocID="{F2B88F53-0B28-412C-AA05-EEC6EB391B76}" presName="sp" presStyleCnt="0"/>
      <dgm:spPr/>
    </dgm:pt>
    <dgm:pt modelId="{D46CDA75-84D6-45A1-AAF1-4CF90650207D}" type="pres">
      <dgm:prSet presAssocID="{0C1F8DCE-22CC-4D46-8545-EEB20AFEEA8E}" presName="linNode" presStyleCnt="0"/>
      <dgm:spPr/>
    </dgm:pt>
    <dgm:pt modelId="{61CD7032-9109-4483-9D0F-0B8F6A12D39B}" type="pres">
      <dgm:prSet presAssocID="{0C1F8DCE-22CC-4D46-8545-EEB20AFEEA8E}" presName="parentText" presStyleLbl="node1" presStyleIdx="4" presStyleCnt="7">
        <dgm:presLayoutVars>
          <dgm:chMax val="1"/>
          <dgm:bulletEnabled val="1"/>
        </dgm:presLayoutVars>
      </dgm:prSet>
      <dgm:spPr/>
    </dgm:pt>
    <dgm:pt modelId="{91D08C9C-8FBF-453C-B584-52F4E5E4971A}" type="pres">
      <dgm:prSet presAssocID="{0C1F8DCE-22CC-4D46-8545-EEB20AFEEA8E}" presName="descendantText" presStyleLbl="alignAccFollowNode1" presStyleIdx="4" presStyleCnt="7">
        <dgm:presLayoutVars>
          <dgm:bulletEnabled val="1"/>
        </dgm:presLayoutVars>
      </dgm:prSet>
      <dgm:spPr/>
    </dgm:pt>
    <dgm:pt modelId="{B593D9C9-09BE-4CD8-93E1-7D909770FA8B}" type="pres">
      <dgm:prSet presAssocID="{DE33F61E-6530-4697-8197-64ABA03ECD91}" presName="sp" presStyleCnt="0"/>
      <dgm:spPr/>
    </dgm:pt>
    <dgm:pt modelId="{427D1BF4-1196-4DC6-B0A6-C8FC2DCA6165}" type="pres">
      <dgm:prSet presAssocID="{F73521D6-7A75-4EEE-B768-A398C8D6FF39}" presName="linNode" presStyleCnt="0"/>
      <dgm:spPr/>
    </dgm:pt>
    <dgm:pt modelId="{A4E3257A-0251-4A9F-8608-75E54D82B8BD}" type="pres">
      <dgm:prSet presAssocID="{F73521D6-7A75-4EEE-B768-A398C8D6FF39}" presName="parentText" presStyleLbl="node1" presStyleIdx="5" presStyleCnt="7">
        <dgm:presLayoutVars>
          <dgm:chMax val="1"/>
          <dgm:bulletEnabled val="1"/>
        </dgm:presLayoutVars>
      </dgm:prSet>
      <dgm:spPr/>
    </dgm:pt>
    <dgm:pt modelId="{CA44C446-E7D1-4431-AD1D-2415146A8D34}" type="pres">
      <dgm:prSet presAssocID="{F73521D6-7A75-4EEE-B768-A398C8D6FF39}" presName="descendantText" presStyleLbl="alignAccFollowNode1" presStyleIdx="5" presStyleCnt="7">
        <dgm:presLayoutVars>
          <dgm:bulletEnabled val="1"/>
        </dgm:presLayoutVars>
      </dgm:prSet>
      <dgm:spPr/>
    </dgm:pt>
    <dgm:pt modelId="{03AB2FF0-8FDD-4FB8-ADAD-48444EDBC265}" type="pres">
      <dgm:prSet presAssocID="{F17FAECC-B3D3-462F-972E-74BC7B82CFAC}" presName="sp" presStyleCnt="0"/>
      <dgm:spPr/>
    </dgm:pt>
    <dgm:pt modelId="{6A9089AD-6CB8-485E-8662-C78BD52E6355}" type="pres">
      <dgm:prSet presAssocID="{36B7BA7D-8558-42F4-8915-01F0B0941EEF}" presName="linNode" presStyleCnt="0"/>
      <dgm:spPr/>
    </dgm:pt>
    <dgm:pt modelId="{0E0160EC-2C7B-47F9-A2BC-5914209AA1F3}" type="pres">
      <dgm:prSet presAssocID="{36B7BA7D-8558-42F4-8915-01F0B0941EEF}" presName="parentText" presStyleLbl="node1" presStyleIdx="6" presStyleCnt="7">
        <dgm:presLayoutVars>
          <dgm:chMax val="1"/>
          <dgm:bulletEnabled val="1"/>
        </dgm:presLayoutVars>
      </dgm:prSet>
      <dgm:spPr/>
    </dgm:pt>
    <dgm:pt modelId="{9351A76D-9D2F-478B-9C50-6DFDF3F59885}" type="pres">
      <dgm:prSet presAssocID="{36B7BA7D-8558-42F4-8915-01F0B0941EEF}" presName="descendantText" presStyleLbl="alignAccFollowNode1" presStyleIdx="6" presStyleCnt="7">
        <dgm:presLayoutVars>
          <dgm:bulletEnabled val="1"/>
        </dgm:presLayoutVars>
      </dgm:prSet>
      <dgm:spPr/>
    </dgm:pt>
  </dgm:ptLst>
  <dgm:cxnLst>
    <dgm:cxn modelId="{96118701-5D03-4AA3-8630-376BCD3C2C9D}" type="presOf" srcId="{36B7BA7D-8558-42F4-8915-01F0B0941EEF}" destId="{0E0160EC-2C7B-47F9-A2BC-5914209AA1F3}" srcOrd="0" destOrd="0" presId="urn:microsoft.com/office/officeart/2005/8/layout/vList5"/>
    <dgm:cxn modelId="{33B1F113-93D7-4B6D-8316-7611CF619498}" type="presOf" srcId="{17FB6BD6-B1DA-4286-87F7-B6F7E04BF629}" destId="{0D036705-13ED-44A2-8664-C29AA07A2151}" srcOrd="0" destOrd="0" presId="urn:microsoft.com/office/officeart/2005/8/layout/vList5"/>
    <dgm:cxn modelId="{19B7C620-980B-4E45-8155-C3A9A682E760}" type="presOf" srcId="{87366545-F361-4871-B479-66DE13D29328}" destId="{C59F892A-608C-481C-9E01-C77539E39B13}" srcOrd="0" destOrd="0" presId="urn:microsoft.com/office/officeart/2005/8/layout/vList5"/>
    <dgm:cxn modelId="{3F978124-A905-4BF6-A153-4D314A01FFEE}" type="presOf" srcId="{0F2D2D8B-0468-42A7-9A9A-D3BF4B8896F7}" destId="{67AF37FB-8950-48FC-A956-F2C23460F934}" srcOrd="0" destOrd="0" presId="urn:microsoft.com/office/officeart/2005/8/layout/vList5"/>
    <dgm:cxn modelId="{6DBD9E2F-410B-4C87-8396-83CA9F0C9A24}" type="presOf" srcId="{9269D881-41A4-492D-BA56-59C6B32ED772}" destId="{CA44C446-E7D1-4431-AD1D-2415146A8D34}" srcOrd="0" destOrd="0" presId="urn:microsoft.com/office/officeart/2005/8/layout/vList5"/>
    <dgm:cxn modelId="{A75FED31-5824-4CDC-A667-93BA8E06FC4D}" type="presOf" srcId="{8C848C16-4000-48A5-9F50-88AB50F8CC66}" destId="{9351A76D-9D2F-478B-9C50-6DFDF3F59885}" srcOrd="0" destOrd="0" presId="urn:microsoft.com/office/officeart/2005/8/layout/vList5"/>
    <dgm:cxn modelId="{FFC3AE43-6FFC-4F7A-8D88-99009D585002}" srcId="{17FB6BD6-B1DA-4286-87F7-B6F7E04BF629}" destId="{371ACE30-7C8C-4E75-9806-030D641AF7E8}" srcOrd="0" destOrd="0" parTransId="{72AA93DB-BB12-4CC4-9F27-35C29BF1B070}" sibTransId="{AC1241A1-7843-42D7-A514-997A39716394}"/>
    <dgm:cxn modelId="{3C314E44-527D-41D2-A360-A827CABBBA27}" srcId="{703DB7B2-0FB5-423B-9260-6B04A0CF84CE}" destId="{C0FE8977-6584-4D2D-AA86-2DFC10611B9B}" srcOrd="2" destOrd="0" parTransId="{C7752658-4136-4B1A-AB72-284C46BA40AB}" sibTransId="{C4D7DFA3-A49A-45D3-81A1-ECE48C83E1AD}"/>
    <dgm:cxn modelId="{61908645-6635-42EB-8336-190349FBC79D}" srcId="{F73521D6-7A75-4EEE-B768-A398C8D6FF39}" destId="{9269D881-41A4-492D-BA56-59C6B32ED772}" srcOrd="0" destOrd="0" parTransId="{E11A6F50-D8E7-43ED-A0BF-3E2567FFA8F4}" sibTransId="{EF7C8E51-2CAD-4AF7-BF98-24EAD3595DCF}"/>
    <dgm:cxn modelId="{00F7F26C-60B3-42A1-B094-DBD7CA64BA60}" type="presOf" srcId="{0C1F8DCE-22CC-4D46-8545-EEB20AFEEA8E}" destId="{61CD7032-9109-4483-9D0F-0B8F6A12D39B}" srcOrd="0" destOrd="0" presId="urn:microsoft.com/office/officeart/2005/8/layout/vList5"/>
    <dgm:cxn modelId="{46B40E50-B30E-4FCD-A0D2-FFCCD6D350E0}" type="presOf" srcId="{C0FE8977-6584-4D2D-AA86-2DFC10611B9B}" destId="{FA24B684-D07D-43D3-B2EF-13567E552E53}" srcOrd="0" destOrd="0" presId="urn:microsoft.com/office/officeart/2005/8/layout/vList5"/>
    <dgm:cxn modelId="{9E3D4F51-DBA6-4B0A-9D13-3902B118AEF8}" srcId="{703DB7B2-0FB5-423B-9260-6B04A0CF84CE}" destId="{36B7BA7D-8558-42F4-8915-01F0B0941EEF}" srcOrd="6" destOrd="0" parTransId="{D3B6082A-C505-4309-8453-F8D1B979310B}" sibTransId="{657619D5-08BC-4B21-A03C-B84FB1C6CB54}"/>
    <dgm:cxn modelId="{1B921E55-8AF5-4FAB-85B7-EB55DD730130}" type="presOf" srcId="{F3F27E9F-F71A-4043-BA5B-1A6755024D42}" destId="{88A25FF8-3784-49EC-B1C8-C5FB8E1C6FDB}" srcOrd="0" destOrd="0" presId="urn:microsoft.com/office/officeart/2005/8/layout/vList5"/>
    <dgm:cxn modelId="{60706379-F255-4418-8E4B-2981FAC51A67}" type="presOf" srcId="{703DB7B2-0FB5-423B-9260-6B04A0CF84CE}" destId="{FD4E2D3E-054D-40DC-B837-75741B6C5873}" srcOrd="0" destOrd="0" presId="urn:microsoft.com/office/officeart/2005/8/layout/vList5"/>
    <dgm:cxn modelId="{9263717A-9B96-49F7-862D-4A78E7C402BA}" srcId="{36B7BA7D-8558-42F4-8915-01F0B0941EEF}" destId="{8C848C16-4000-48A5-9F50-88AB50F8CC66}" srcOrd="0" destOrd="0" parTransId="{0DDCFC45-A57E-4E4E-BE93-5A3C29647001}" sibTransId="{7A11E7F6-19CC-4646-8A04-2F16AB639D5F}"/>
    <dgm:cxn modelId="{0B110781-0082-402E-8A2A-4DC017742E07}" type="presOf" srcId="{F82A823C-0878-41C9-9614-9F6432E270D2}" destId="{70A9AAC9-17D6-4F66-BA76-E8CCAA700E01}" srcOrd="0" destOrd="0" presId="urn:microsoft.com/office/officeart/2005/8/layout/vList5"/>
    <dgm:cxn modelId="{E52F9B87-79B7-4014-A405-6919AFAC8D46}" srcId="{703DB7B2-0FB5-423B-9260-6B04A0CF84CE}" destId="{87366545-F361-4871-B479-66DE13D29328}" srcOrd="0" destOrd="0" parTransId="{82B6A24F-3192-48B9-A4A3-5987C72E8E49}" sibTransId="{24DF020B-CFE2-4222-B40D-D58C64E6EFC7}"/>
    <dgm:cxn modelId="{37C18499-3AF3-45A7-9664-48D0C5177450}" srcId="{0C1F8DCE-22CC-4D46-8545-EEB20AFEEA8E}" destId="{C6E183AF-55F3-4135-A350-39C948B94561}" srcOrd="0" destOrd="0" parTransId="{F2FF6401-C396-4EF3-B027-2BF2B986C168}" sibTransId="{B74050BD-3E0D-49E2-A202-EA74BC81F0A8}"/>
    <dgm:cxn modelId="{9CFC3DA8-16FD-42C9-A77C-0BA13D6DB4FE}" srcId="{C0FE8977-6584-4D2D-AA86-2DFC10611B9B}" destId="{403BCFA9-7D8D-4309-BCD3-EE3787469529}" srcOrd="0" destOrd="0" parTransId="{319DF5E7-DF09-4F4C-8762-62DD2D03023B}" sibTransId="{60EBC1EB-FBAC-48BD-902E-183E6BE081A4}"/>
    <dgm:cxn modelId="{183C68AB-1CFC-4F79-B2EE-0E32E3C5D8B7}" type="presOf" srcId="{371ACE30-7C8C-4E75-9806-030D641AF7E8}" destId="{FD4C8C8E-60CD-4605-8BEB-983B6BAB5054}" srcOrd="0" destOrd="0" presId="urn:microsoft.com/office/officeart/2005/8/layout/vList5"/>
    <dgm:cxn modelId="{2E56E0AC-DAE5-4489-B433-762199A89546}" srcId="{87366545-F361-4871-B479-66DE13D29328}" destId="{0F2D2D8B-0468-42A7-9A9A-D3BF4B8896F7}" srcOrd="0" destOrd="0" parTransId="{DE0BC05D-64FA-4C2A-8124-A87492E40E65}" sibTransId="{CA3935D9-1912-4AD1-82E1-79D23FF3E89F}"/>
    <dgm:cxn modelId="{03B89EB9-29C8-445C-8D4E-B1B875275384}" type="presOf" srcId="{F73521D6-7A75-4EEE-B768-A398C8D6FF39}" destId="{A4E3257A-0251-4A9F-8608-75E54D82B8BD}" srcOrd="0" destOrd="0" presId="urn:microsoft.com/office/officeart/2005/8/layout/vList5"/>
    <dgm:cxn modelId="{AC088EBD-B6D4-4B74-9CB8-81A2BBA4A10E}" type="presOf" srcId="{C6E183AF-55F3-4135-A350-39C948B94561}" destId="{91D08C9C-8FBF-453C-B584-52F4E5E4971A}" srcOrd="0" destOrd="0" presId="urn:microsoft.com/office/officeart/2005/8/layout/vList5"/>
    <dgm:cxn modelId="{1EDA86BE-CAA9-49EB-87A6-5E4E93DCC00C}" type="presOf" srcId="{403BCFA9-7D8D-4309-BCD3-EE3787469529}" destId="{2C66BCE4-FB4D-48BE-9712-EB30DDB31863}" srcOrd="0" destOrd="0" presId="urn:microsoft.com/office/officeart/2005/8/layout/vList5"/>
    <dgm:cxn modelId="{6DB9DBC8-1575-4319-805C-A03269689343}" srcId="{703DB7B2-0FB5-423B-9260-6B04A0CF84CE}" destId="{17FB6BD6-B1DA-4286-87F7-B6F7E04BF629}" srcOrd="3" destOrd="0" parTransId="{9280534E-DEBF-4553-A6A5-24A0E8AA83FB}" sibTransId="{F2B88F53-0B28-412C-AA05-EEC6EB391B76}"/>
    <dgm:cxn modelId="{01EF22CA-C908-4A95-B542-2EED8679AB1C}" srcId="{703DB7B2-0FB5-423B-9260-6B04A0CF84CE}" destId="{F3F27E9F-F71A-4043-BA5B-1A6755024D42}" srcOrd="1" destOrd="0" parTransId="{0CBDC24A-3B2D-465F-8109-D5086DCE91FF}" sibTransId="{D1F658CC-D706-4821-AA43-6EF881B1AF1D}"/>
    <dgm:cxn modelId="{56E7E7CC-B7C8-48DE-93B4-5CA021559767}" srcId="{703DB7B2-0FB5-423B-9260-6B04A0CF84CE}" destId="{0C1F8DCE-22CC-4D46-8545-EEB20AFEEA8E}" srcOrd="4" destOrd="0" parTransId="{5B2297B6-8D48-4620-83AE-24409738A038}" sibTransId="{DE33F61E-6530-4697-8197-64ABA03ECD91}"/>
    <dgm:cxn modelId="{F8E847D4-1783-4F37-95DF-FFD0D63CC0C4}" srcId="{F3F27E9F-F71A-4043-BA5B-1A6755024D42}" destId="{F82A823C-0878-41C9-9614-9F6432E270D2}" srcOrd="0" destOrd="0" parTransId="{EEF9305C-3668-4F70-92A6-D1882FBF79D0}" sibTransId="{79C3FA0C-AF78-4DBB-9E03-001B8A8FB71F}"/>
    <dgm:cxn modelId="{3E825DF1-FFF5-489F-AF17-C0BB5661783B}" srcId="{703DB7B2-0FB5-423B-9260-6B04A0CF84CE}" destId="{F73521D6-7A75-4EEE-B768-A398C8D6FF39}" srcOrd="5" destOrd="0" parTransId="{5E311D41-8E1B-41B6-BC55-C32741ADD524}" sibTransId="{F17FAECC-B3D3-462F-972E-74BC7B82CFAC}"/>
    <dgm:cxn modelId="{6434C11A-B6CF-46DA-8A19-71956364B584}" type="presParOf" srcId="{FD4E2D3E-054D-40DC-B837-75741B6C5873}" destId="{E580FE1C-3427-456C-991D-8D06DB710452}" srcOrd="0" destOrd="0" presId="urn:microsoft.com/office/officeart/2005/8/layout/vList5"/>
    <dgm:cxn modelId="{F3FC34F6-BFEC-4F64-81A3-3FB0F209DFE3}" type="presParOf" srcId="{E580FE1C-3427-456C-991D-8D06DB710452}" destId="{C59F892A-608C-481C-9E01-C77539E39B13}" srcOrd="0" destOrd="0" presId="urn:microsoft.com/office/officeart/2005/8/layout/vList5"/>
    <dgm:cxn modelId="{6A72FD26-4D12-4B20-B309-F78FB08FAC8E}" type="presParOf" srcId="{E580FE1C-3427-456C-991D-8D06DB710452}" destId="{67AF37FB-8950-48FC-A956-F2C23460F934}" srcOrd="1" destOrd="0" presId="urn:microsoft.com/office/officeart/2005/8/layout/vList5"/>
    <dgm:cxn modelId="{4DEDABDB-47B7-4485-A406-1F96ECE63B4A}" type="presParOf" srcId="{FD4E2D3E-054D-40DC-B837-75741B6C5873}" destId="{7879D1B1-0315-44A9-9813-C0B536E1322C}" srcOrd="1" destOrd="0" presId="urn:microsoft.com/office/officeart/2005/8/layout/vList5"/>
    <dgm:cxn modelId="{463C0A28-83D8-45A9-BA60-AC8D570787DB}" type="presParOf" srcId="{FD4E2D3E-054D-40DC-B837-75741B6C5873}" destId="{84F6F720-277E-4010-A8BC-360604FE4C2F}" srcOrd="2" destOrd="0" presId="urn:microsoft.com/office/officeart/2005/8/layout/vList5"/>
    <dgm:cxn modelId="{7EA96146-6987-4899-904E-E6230ABFE95E}" type="presParOf" srcId="{84F6F720-277E-4010-A8BC-360604FE4C2F}" destId="{88A25FF8-3784-49EC-B1C8-C5FB8E1C6FDB}" srcOrd="0" destOrd="0" presId="urn:microsoft.com/office/officeart/2005/8/layout/vList5"/>
    <dgm:cxn modelId="{CAE0E678-76B2-4295-A47A-FC7AC444889D}" type="presParOf" srcId="{84F6F720-277E-4010-A8BC-360604FE4C2F}" destId="{70A9AAC9-17D6-4F66-BA76-E8CCAA700E01}" srcOrd="1" destOrd="0" presId="urn:microsoft.com/office/officeart/2005/8/layout/vList5"/>
    <dgm:cxn modelId="{10BFF1DB-F5F7-4199-B0D1-6088E1536098}" type="presParOf" srcId="{FD4E2D3E-054D-40DC-B837-75741B6C5873}" destId="{39AA4BC6-0463-4EF6-B49E-1DAE283F7F51}" srcOrd="3" destOrd="0" presId="urn:microsoft.com/office/officeart/2005/8/layout/vList5"/>
    <dgm:cxn modelId="{F3AEE6B4-4855-43E1-9AD1-C40AE9040D64}" type="presParOf" srcId="{FD4E2D3E-054D-40DC-B837-75741B6C5873}" destId="{BE609E49-5B3D-4813-8FEC-385531E8DC99}" srcOrd="4" destOrd="0" presId="urn:microsoft.com/office/officeart/2005/8/layout/vList5"/>
    <dgm:cxn modelId="{6DDD028A-14B0-4AD9-BB5F-4354B3DCA360}" type="presParOf" srcId="{BE609E49-5B3D-4813-8FEC-385531E8DC99}" destId="{FA24B684-D07D-43D3-B2EF-13567E552E53}" srcOrd="0" destOrd="0" presId="urn:microsoft.com/office/officeart/2005/8/layout/vList5"/>
    <dgm:cxn modelId="{68CF91A0-011F-4523-A191-F056EA6EBDEA}" type="presParOf" srcId="{BE609E49-5B3D-4813-8FEC-385531E8DC99}" destId="{2C66BCE4-FB4D-48BE-9712-EB30DDB31863}" srcOrd="1" destOrd="0" presId="urn:microsoft.com/office/officeart/2005/8/layout/vList5"/>
    <dgm:cxn modelId="{D9CCA503-27DD-44CD-A4F2-438DE23B9DFF}" type="presParOf" srcId="{FD4E2D3E-054D-40DC-B837-75741B6C5873}" destId="{500D91F8-3568-4C06-BB9B-990AE91F0F6D}" srcOrd="5" destOrd="0" presId="urn:microsoft.com/office/officeart/2005/8/layout/vList5"/>
    <dgm:cxn modelId="{BDFF81A6-DFB6-48C3-8C3A-43B0564B9F99}" type="presParOf" srcId="{FD4E2D3E-054D-40DC-B837-75741B6C5873}" destId="{1F8CA83F-ADA2-4405-A58B-15B336E7DE55}" srcOrd="6" destOrd="0" presId="urn:microsoft.com/office/officeart/2005/8/layout/vList5"/>
    <dgm:cxn modelId="{637A838C-6D86-4551-A459-6D964A815D05}" type="presParOf" srcId="{1F8CA83F-ADA2-4405-A58B-15B336E7DE55}" destId="{0D036705-13ED-44A2-8664-C29AA07A2151}" srcOrd="0" destOrd="0" presId="urn:microsoft.com/office/officeart/2005/8/layout/vList5"/>
    <dgm:cxn modelId="{AD6E1627-DE8C-4F16-AC24-B4F773D4AB3E}" type="presParOf" srcId="{1F8CA83F-ADA2-4405-A58B-15B336E7DE55}" destId="{FD4C8C8E-60CD-4605-8BEB-983B6BAB5054}" srcOrd="1" destOrd="0" presId="urn:microsoft.com/office/officeart/2005/8/layout/vList5"/>
    <dgm:cxn modelId="{1DDB8B15-4FFE-402C-91FF-07BE4DC3796F}" type="presParOf" srcId="{FD4E2D3E-054D-40DC-B837-75741B6C5873}" destId="{207760FF-413C-4063-B57A-199A422343EA}" srcOrd="7" destOrd="0" presId="urn:microsoft.com/office/officeart/2005/8/layout/vList5"/>
    <dgm:cxn modelId="{5D79478B-5CA4-4038-A5FC-9B52D722E8FE}" type="presParOf" srcId="{FD4E2D3E-054D-40DC-B837-75741B6C5873}" destId="{D46CDA75-84D6-45A1-AAF1-4CF90650207D}" srcOrd="8" destOrd="0" presId="urn:microsoft.com/office/officeart/2005/8/layout/vList5"/>
    <dgm:cxn modelId="{AAA2B54D-9BEC-46EC-89F1-3817589D0C1F}" type="presParOf" srcId="{D46CDA75-84D6-45A1-AAF1-4CF90650207D}" destId="{61CD7032-9109-4483-9D0F-0B8F6A12D39B}" srcOrd="0" destOrd="0" presId="urn:microsoft.com/office/officeart/2005/8/layout/vList5"/>
    <dgm:cxn modelId="{2E6AFF9F-35E3-43E9-B8E3-CE97A9ACB321}" type="presParOf" srcId="{D46CDA75-84D6-45A1-AAF1-4CF90650207D}" destId="{91D08C9C-8FBF-453C-B584-52F4E5E4971A}" srcOrd="1" destOrd="0" presId="urn:microsoft.com/office/officeart/2005/8/layout/vList5"/>
    <dgm:cxn modelId="{A1186EDB-5B78-4FCA-B0F2-0590D7EA95D8}" type="presParOf" srcId="{FD4E2D3E-054D-40DC-B837-75741B6C5873}" destId="{B593D9C9-09BE-4CD8-93E1-7D909770FA8B}" srcOrd="9" destOrd="0" presId="urn:microsoft.com/office/officeart/2005/8/layout/vList5"/>
    <dgm:cxn modelId="{684960F3-D581-40E0-8927-A9E47FA2E1E6}" type="presParOf" srcId="{FD4E2D3E-054D-40DC-B837-75741B6C5873}" destId="{427D1BF4-1196-4DC6-B0A6-C8FC2DCA6165}" srcOrd="10" destOrd="0" presId="urn:microsoft.com/office/officeart/2005/8/layout/vList5"/>
    <dgm:cxn modelId="{10C18F7B-A68D-419A-B5C5-5AC625262FEE}" type="presParOf" srcId="{427D1BF4-1196-4DC6-B0A6-C8FC2DCA6165}" destId="{A4E3257A-0251-4A9F-8608-75E54D82B8BD}" srcOrd="0" destOrd="0" presId="urn:microsoft.com/office/officeart/2005/8/layout/vList5"/>
    <dgm:cxn modelId="{F82B37A8-619B-4446-A4ED-81217E9B898D}" type="presParOf" srcId="{427D1BF4-1196-4DC6-B0A6-C8FC2DCA6165}" destId="{CA44C446-E7D1-4431-AD1D-2415146A8D34}" srcOrd="1" destOrd="0" presId="urn:microsoft.com/office/officeart/2005/8/layout/vList5"/>
    <dgm:cxn modelId="{387C9481-C41E-4DFC-B8B9-47D2AA5E0A0E}" type="presParOf" srcId="{FD4E2D3E-054D-40DC-B837-75741B6C5873}" destId="{03AB2FF0-8FDD-4FB8-ADAD-48444EDBC265}" srcOrd="11" destOrd="0" presId="urn:microsoft.com/office/officeart/2005/8/layout/vList5"/>
    <dgm:cxn modelId="{7409EC57-E55A-49B8-9E67-B1BF894A2AC2}" type="presParOf" srcId="{FD4E2D3E-054D-40DC-B837-75741B6C5873}" destId="{6A9089AD-6CB8-485E-8662-C78BD52E6355}" srcOrd="12" destOrd="0" presId="urn:microsoft.com/office/officeart/2005/8/layout/vList5"/>
    <dgm:cxn modelId="{D7B940D8-2E68-434A-B250-F3B8A694A175}" type="presParOf" srcId="{6A9089AD-6CB8-485E-8662-C78BD52E6355}" destId="{0E0160EC-2C7B-47F9-A2BC-5914209AA1F3}" srcOrd="0" destOrd="0" presId="urn:microsoft.com/office/officeart/2005/8/layout/vList5"/>
    <dgm:cxn modelId="{3AB10B43-CC79-41FC-B173-6BC8FBB2B077}" type="presParOf" srcId="{6A9089AD-6CB8-485E-8662-C78BD52E6355}" destId="{9351A76D-9D2F-478B-9C50-6DFDF3F5988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2AB5958-98AE-40E1-A2BC-F86615DC227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CD1F75D-2D97-44B6-A92E-EC894FC36B47}">
      <dgm:prSet custT="1"/>
      <dgm:spPr/>
      <dgm:t>
        <a:bodyPr/>
        <a:lstStyle/>
        <a:p>
          <a:r>
            <a:rPr lang="en-US" sz="2400" baseline="0" dirty="0"/>
            <a:t>Aggregate statistics</a:t>
          </a:r>
          <a:endParaRPr lang="en-US" sz="2400" dirty="0"/>
        </a:p>
      </dgm:t>
    </dgm:pt>
    <dgm:pt modelId="{9FE8E6AC-5701-4D6B-A913-DEDE92F7D941}" type="parTrans" cxnId="{1DFA3628-3410-48AE-B712-78A93C680D4D}">
      <dgm:prSet/>
      <dgm:spPr/>
      <dgm:t>
        <a:bodyPr/>
        <a:lstStyle/>
        <a:p>
          <a:endParaRPr lang="en-US"/>
        </a:p>
      </dgm:t>
    </dgm:pt>
    <dgm:pt modelId="{DD27E47A-3149-4600-960F-15C0F9BAEE9F}" type="sibTrans" cxnId="{1DFA3628-3410-48AE-B712-78A93C680D4D}">
      <dgm:prSet/>
      <dgm:spPr/>
      <dgm:t>
        <a:bodyPr/>
        <a:lstStyle/>
        <a:p>
          <a:endParaRPr lang="en-US"/>
        </a:p>
      </dgm:t>
    </dgm:pt>
    <dgm:pt modelId="{A9C32C13-B177-4B93-A47D-30D57A824AF9}">
      <dgm:prSet custT="1"/>
      <dgm:spPr/>
      <dgm:t>
        <a:bodyPr/>
        <a:lstStyle/>
        <a:p>
          <a:r>
            <a:rPr lang="en-US" sz="2000" baseline="0" dirty="0"/>
            <a:t>Total</a:t>
          </a:r>
          <a:endParaRPr lang="en-US" sz="2000" dirty="0"/>
        </a:p>
      </dgm:t>
    </dgm:pt>
    <dgm:pt modelId="{703F067C-741F-4258-B8BA-89D921E963CE}" type="parTrans" cxnId="{A45EBB10-FCE5-433A-83DF-1FCE4B96C5F6}">
      <dgm:prSet/>
      <dgm:spPr/>
      <dgm:t>
        <a:bodyPr/>
        <a:lstStyle/>
        <a:p>
          <a:endParaRPr lang="en-US"/>
        </a:p>
      </dgm:t>
    </dgm:pt>
    <dgm:pt modelId="{E7A0F065-0970-49E3-9192-65570AF32302}" type="sibTrans" cxnId="{A45EBB10-FCE5-433A-83DF-1FCE4B96C5F6}">
      <dgm:prSet/>
      <dgm:spPr/>
      <dgm:t>
        <a:bodyPr/>
        <a:lstStyle/>
        <a:p>
          <a:endParaRPr lang="en-US"/>
        </a:p>
      </dgm:t>
    </dgm:pt>
    <dgm:pt modelId="{CF11DFE6-E9E5-4BA4-9CFC-99A24BE8D98C}">
      <dgm:prSet custT="1"/>
      <dgm:spPr/>
      <dgm:t>
        <a:bodyPr/>
        <a:lstStyle/>
        <a:p>
          <a:r>
            <a:rPr lang="en-US" sz="2000" baseline="0" dirty="0"/>
            <a:t>Min</a:t>
          </a:r>
          <a:endParaRPr lang="en-US" sz="2000" dirty="0"/>
        </a:p>
      </dgm:t>
    </dgm:pt>
    <dgm:pt modelId="{E8B47A28-7198-4C3C-83F2-C3B7BB4737FC}" type="parTrans" cxnId="{EE485B2B-A40D-40A7-AD92-E2EA5E4F1743}">
      <dgm:prSet/>
      <dgm:spPr/>
      <dgm:t>
        <a:bodyPr/>
        <a:lstStyle/>
        <a:p>
          <a:endParaRPr lang="en-US"/>
        </a:p>
      </dgm:t>
    </dgm:pt>
    <dgm:pt modelId="{D122DD9A-35D4-4CEF-91F4-00734711E5EE}" type="sibTrans" cxnId="{EE485B2B-A40D-40A7-AD92-E2EA5E4F1743}">
      <dgm:prSet/>
      <dgm:spPr/>
      <dgm:t>
        <a:bodyPr/>
        <a:lstStyle/>
        <a:p>
          <a:endParaRPr lang="en-US"/>
        </a:p>
      </dgm:t>
    </dgm:pt>
    <dgm:pt modelId="{EDC66B11-7884-435C-9BCD-F71825B3BFB3}">
      <dgm:prSet custT="1"/>
      <dgm:spPr/>
      <dgm:t>
        <a:bodyPr/>
        <a:lstStyle/>
        <a:p>
          <a:r>
            <a:rPr lang="en-US" sz="2000" baseline="0" dirty="0"/>
            <a:t>Max</a:t>
          </a:r>
          <a:endParaRPr lang="en-US" sz="2000" dirty="0"/>
        </a:p>
      </dgm:t>
    </dgm:pt>
    <dgm:pt modelId="{D6576EF1-4924-4BFC-8687-2570C7C1E078}" type="parTrans" cxnId="{72D73D71-AC6D-4DAE-B7FF-0B6FD23E36C0}">
      <dgm:prSet/>
      <dgm:spPr/>
      <dgm:t>
        <a:bodyPr/>
        <a:lstStyle/>
        <a:p>
          <a:endParaRPr lang="en-US"/>
        </a:p>
      </dgm:t>
    </dgm:pt>
    <dgm:pt modelId="{35368F70-B511-476C-8ED9-F18D5B08C6B9}" type="sibTrans" cxnId="{72D73D71-AC6D-4DAE-B7FF-0B6FD23E36C0}">
      <dgm:prSet/>
      <dgm:spPr/>
      <dgm:t>
        <a:bodyPr/>
        <a:lstStyle/>
        <a:p>
          <a:endParaRPr lang="en-US"/>
        </a:p>
      </dgm:t>
    </dgm:pt>
    <dgm:pt modelId="{73CBA943-76B2-4ACE-8754-6CF237304590}">
      <dgm:prSet custT="1"/>
      <dgm:spPr/>
      <dgm:t>
        <a:bodyPr/>
        <a:lstStyle/>
        <a:p>
          <a:r>
            <a:rPr lang="en-US" sz="2000" baseline="0" dirty="0"/>
            <a:t>Avg</a:t>
          </a:r>
          <a:endParaRPr lang="en-US" sz="2000" dirty="0"/>
        </a:p>
      </dgm:t>
    </dgm:pt>
    <dgm:pt modelId="{14441E80-65B3-4787-B901-903781EA681D}" type="parTrans" cxnId="{1F7BF34C-EFBD-4EFC-BBD3-9559FB020A09}">
      <dgm:prSet/>
      <dgm:spPr/>
      <dgm:t>
        <a:bodyPr/>
        <a:lstStyle/>
        <a:p>
          <a:endParaRPr lang="en-US"/>
        </a:p>
      </dgm:t>
    </dgm:pt>
    <dgm:pt modelId="{4F306747-59CB-41BC-8FDD-BB52AC14FC96}" type="sibTrans" cxnId="{1F7BF34C-EFBD-4EFC-BBD3-9559FB020A09}">
      <dgm:prSet/>
      <dgm:spPr/>
      <dgm:t>
        <a:bodyPr/>
        <a:lstStyle/>
        <a:p>
          <a:endParaRPr lang="en-US"/>
        </a:p>
      </dgm:t>
    </dgm:pt>
    <dgm:pt modelId="{C65E58EF-324F-4913-AE8B-5A00D5BC1F3B}">
      <dgm:prSet custT="1"/>
      <dgm:spPr/>
      <dgm:t>
        <a:bodyPr/>
        <a:lstStyle/>
        <a:p>
          <a:r>
            <a:rPr lang="en-US" sz="2000" baseline="0" dirty="0"/>
            <a:t>Standard Deviation</a:t>
          </a:r>
          <a:endParaRPr lang="en-US" sz="2000" dirty="0"/>
        </a:p>
      </dgm:t>
    </dgm:pt>
    <dgm:pt modelId="{6B7CEB2F-9D91-4DFE-B666-60905ADA9B41}" type="parTrans" cxnId="{397A5BC5-9926-4B74-AD7C-906E60BE60FC}">
      <dgm:prSet/>
      <dgm:spPr/>
      <dgm:t>
        <a:bodyPr/>
        <a:lstStyle/>
        <a:p>
          <a:endParaRPr lang="en-US"/>
        </a:p>
      </dgm:t>
    </dgm:pt>
    <dgm:pt modelId="{FCA960C7-7F72-4EAC-8825-9165F1ED5A72}" type="sibTrans" cxnId="{397A5BC5-9926-4B74-AD7C-906E60BE60FC}">
      <dgm:prSet/>
      <dgm:spPr/>
      <dgm:t>
        <a:bodyPr/>
        <a:lstStyle/>
        <a:p>
          <a:endParaRPr lang="en-US"/>
        </a:p>
      </dgm:t>
    </dgm:pt>
    <dgm:pt modelId="{0AB4B53A-5223-4FFC-82C3-2EACFB83BDEF}" type="pres">
      <dgm:prSet presAssocID="{72AB5958-98AE-40E1-A2BC-F86615DC227C}" presName="Name0" presStyleCnt="0">
        <dgm:presLayoutVars>
          <dgm:dir/>
          <dgm:animLvl val="lvl"/>
          <dgm:resizeHandles val="exact"/>
        </dgm:presLayoutVars>
      </dgm:prSet>
      <dgm:spPr/>
    </dgm:pt>
    <dgm:pt modelId="{EAACA03B-D71F-4A46-810F-D19F82A2238D}" type="pres">
      <dgm:prSet presAssocID="{DCD1F75D-2D97-44B6-A92E-EC894FC36B47}" presName="linNode" presStyleCnt="0"/>
      <dgm:spPr/>
    </dgm:pt>
    <dgm:pt modelId="{086FF4FD-422F-4991-98D0-CD9E311A2A35}" type="pres">
      <dgm:prSet presAssocID="{DCD1F75D-2D97-44B6-A92E-EC894FC36B47}" presName="parentText" presStyleLbl="node1" presStyleIdx="0" presStyleCnt="1">
        <dgm:presLayoutVars>
          <dgm:chMax val="1"/>
          <dgm:bulletEnabled val="1"/>
        </dgm:presLayoutVars>
      </dgm:prSet>
      <dgm:spPr/>
    </dgm:pt>
    <dgm:pt modelId="{88358F0B-3705-4BDE-875B-8462A329C789}" type="pres">
      <dgm:prSet presAssocID="{DCD1F75D-2D97-44B6-A92E-EC894FC36B47}" presName="descendantText" presStyleLbl="alignAccFollowNode1" presStyleIdx="0" presStyleCnt="1">
        <dgm:presLayoutVars>
          <dgm:bulletEnabled val="1"/>
        </dgm:presLayoutVars>
      </dgm:prSet>
      <dgm:spPr/>
    </dgm:pt>
  </dgm:ptLst>
  <dgm:cxnLst>
    <dgm:cxn modelId="{EF7E2504-179A-4BDE-8C66-FE40221E0C4A}" type="presOf" srcId="{DCD1F75D-2D97-44B6-A92E-EC894FC36B47}" destId="{086FF4FD-422F-4991-98D0-CD9E311A2A35}" srcOrd="0" destOrd="0" presId="urn:microsoft.com/office/officeart/2005/8/layout/vList5"/>
    <dgm:cxn modelId="{8EA96804-4F43-4486-9573-62BFAB1940A5}" type="presOf" srcId="{73CBA943-76B2-4ACE-8754-6CF237304590}" destId="{88358F0B-3705-4BDE-875B-8462A329C789}" srcOrd="0" destOrd="3" presId="urn:microsoft.com/office/officeart/2005/8/layout/vList5"/>
    <dgm:cxn modelId="{A45EBB10-FCE5-433A-83DF-1FCE4B96C5F6}" srcId="{DCD1F75D-2D97-44B6-A92E-EC894FC36B47}" destId="{A9C32C13-B177-4B93-A47D-30D57A824AF9}" srcOrd="0" destOrd="0" parTransId="{703F067C-741F-4258-B8BA-89D921E963CE}" sibTransId="{E7A0F065-0970-49E3-9192-65570AF32302}"/>
    <dgm:cxn modelId="{1DFA3628-3410-48AE-B712-78A93C680D4D}" srcId="{72AB5958-98AE-40E1-A2BC-F86615DC227C}" destId="{DCD1F75D-2D97-44B6-A92E-EC894FC36B47}" srcOrd="0" destOrd="0" parTransId="{9FE8E6AC-5701-4D6B-A913-DEDE92F7D941}" sibTransId="{DD27E47A-3149-4600-960F-15C0F9BAEE9F}"/>
    <dgm:cxn modelId="{EE485B2B-A40D-40A7-AD92-E2EA5E4F1743}" srcId="{DCD1F75D-2D97-44B6-A92E-EC894FC36B47}" destId="{CF11DFE6-E9E5-4BA4-9CFC-99A24BE8D98C}" srcOrd="1" destOrd="0" parTransId="{E8B47A28-7198-4C3C-83F2-C3B7BB4737FC}" sibTransId="{D122DD9A-35D4-4CEF-91F4-00734711E5EE}"/>
    <dgm:cxn modelId="{BDC71E30-2B1B-4698-B5C3-9C2E2224AE11}" type="presOf" srcId="{A9C32C13-B177-4B93-A47D-30D57A824AF9}" destId="{88358F0B-3705-4BDE-875B-8462A329C789}" srcOrd="0" destOrd="0" presId="urn:microsoft.com/office/officeart/2005/8/layout/vList5"/>
    <dgm:cxn modelId="{1F7BF34C-EFBD-4EFC-BBD3-9559FB020A09}" srcId="{DCD1F75D-2D97-44B6-A92E-EC894FC36B47}" destId="{73CBA943-76B2-4ACE-8754-6CF237304590}" srcOrd="3" destOrd="0" parTransId="{14441E80-65B3-4787-B901-903781EA681D}" sibTransId="{4F306747-59CB-41BC-8FDD-BB52AC14FC96}"/>
    <dgm:cxn modelId="{72D73D71-AC6D-4DAE-B7FF-0B6FD23E36C0}" srcId="{DCD1F75D-2D97-44B6-A92E-EC894FC36B47}" destId="{EDC66B11-7884-435C-9BCD-F71825B3BFB3}" srcOrd="2" destOrd="0" parTransId="{D6576EF1-4924-4BFC-8687-2570C7C1E078}" sibTransId="{35368F70-B511-476C-8ED9-F18D5B08C6B9}"/>
    <dgm:cxn modelId="{E05BD871-CE8D-4E3F-BE0E-BC09BFF73EA4}" type="presOf" srcId="{CF11DFE6-E9E5-4BA4-9CFC-99A24BE8D98C}" destId="{88358F0B-3705-4BDE-875B-8462A329C789}" srcOrd="0" destOrd="1" presId="urn:microsoft.com/office/officeart/2005/8/layout/vList5"/>
    <dgm:cxn modelId="{397A5BC5-9926-4B74-AD7C-906E60BE60FC}" srcId="{DCD1F75D-2D97-44B6-A92E-EC894FC36B47}" destId="{C65E58EF-324F-4913-AE8B-5A00D5BC1F3B}" srcOrd="4" destOrd="0" parTransId="{6B7CEB2F-9D91-4DFE-B666-60905ADA9B41}" sibTransId="{FCA960C7-7F72-4EAC-8825-9165F1ED5A72}"/>
    <dgm:cxn modelId="{412401D1-3D3D-45DA-8C48-C25322DBC6D5}" type="presOf" srcId="{EDC66B11-7884-435C-9BCD-F71825B3BFB3}" destId="{88358F0B-3705-4BDE-875B-8462A329C789}" srcOrd="0" destOrd="2" presId="urn:microsoft.com/office/officeart/2005/8/layout/vList5"/>
    <dgm:cxn modelId="{47870AD6-2B37-4301-9A8A-03B62BEF4C7E}" type="presOf" srcId="{72AB5958-98AE-40E1-A2BC-F86615DC227C}" destId="{0AB4B53A-5223-4FFC-82C3-2EACFB83BDEF}" srcOrd="0" destOrd="0" presId="urn:microsoft.com/office/officeart/2005/8/layout/vList5"/>
    <dgm:cxn modelId="{561CADD8-AF7D-4D55-A434-F09D51290568}" type="presOf" srcId="{C65E58EF-324F-4913-AE8B-5A00D5BC1F3B}" destId="{88358F0B-3705-4BDE-875B-8462A329C789}" srcOrd="0" destOrd="4" presId="urn:microsoft.com/office/officeart/2005/8/layout/vList5"/>
    <dgm:cxn modelId="{C6920A2C-2F05-43FF-B0E2-36AC5838AC69}" type="presParOf" srcId="{0AB4B53A-5223-4FFC-82C3-2EACFB83BDEF}" destId="{EAACA03B-D71F-4A46-810F-D19F82A2238D}" srcOrd="0" destOrd="0" presId="urn:microsoft.com/office/officeart/2005/8/layout/vList5"/>
    <dgm:cxn modelId="{A24CA5CF-AC97-4C5C-8743-D47C88C01CC3}" type="presParOf" srcId="{EAACA03B-D71F-4A46-810F-D19F82A2238D}" destId="{086FF4FD-422F-4991-98D0-CD9E311A2A35}" srcOrd="0" destOrd="0" presId="urn:microsoft.com/office/officeart/2005/8/layout/vList5"/>
    <dgm:cxn modelId="{F65F9E36-A0C8-4A0B-8DE1-CF9E81585190}" type="presParOf" srcId="{EAACA03B-D71F-4A46-810F-D19F82A2238D}" destId="{88358F0B-3705-4BDE-875B-8462A329C78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86AC099-4B55-4F1C-A4DB-8C8752DD6391}"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BFBDBD4F-9A33-44B1-8C84-D9F798BB8BF1}">
      <dgm:prSet custT="1"/>
      <dgm:spPr/>
      <dgm:t>
        <a:bodyPr/>
        <a:lstStyle/>
        <a:p>
          <a:pPr>
            <a:lnSpc>
              <a:spcPct val="100000"/>
            </a:lnSpc>
          </a:pPr>
          <a:r>
            <a:rPr lang="en-US" sz="2000" dirty="0"/>
            <a:t>Execution metrics for queries run on secondary replicas</a:t>
          </a:r>
        </a:p>
      </dgm:t>
    </dgm:pt>
    <dgm:pt modelId="{09220918-FC97-48E8-BB8E-42919450B36F}" type="parTrans" cxnId="{3FD749DE-8482-4112-B5ED-75301865D449}">
      <dgm:prSet/>
      <dgm:spPr/>
      <dgm:t>
        <a:bodyPr/>
        <a:lstStyle/>
        <a:p>
          <a:endParaRPr lang="en-US"/>
        </a:p>
      </dgm:t>
    </dgm:pt>
    <dgm:pt modelId="{268673C4-4F5A-4B6F-BCDE-8B848F9933E9}" type="sibTrans" cxnId="{3FD749DE-8482-4112-B5ED-75301865D449}">
      <dgm:prSet/>
      <dgm:spPr/>
      <dgm:t>
        <a:bodyPr/>
        <a:lstStyle/>
        <a:p>
          <a:endParaRPr lang="en-US"/>
        </a:p>
      </dgm:t>
    </dgm:pt>
    <dgm:pt modelId="{DC0CD161-2EED-4D08-B8DB-F988511F0BB6}">
      <dgm:prSet custT="1"/>
      <dgm:spPr/>
      <dgm:t>
        <a:bodyPr/>
        <a:lstStyle/>
        <a:p>
          <a:pPr>
            <a:lnSpc>
              <a:spcPct val="100000"/>
            </a:lnSpc>
          </a:pPr>
          <a:r>
            <a:rPr lang="en-US" sz="2000"/>
            <a:t>Data is sent from secondaries back to the primary replica</a:t>
          </a:r>
        </a:p>
      </dgm:t>
    </dgm:pt>
    <dgm:pt modelId="{DF348296-D429-4087-BE36-B50D64BC02A5}" type="parTrans" cxnId="{D5991DE2-8A45-4ABA-BBD4-610A8F02271C}">
      <dgm:prSet/>
      <dgm:spPr/>
      <dgm:t>
        <a:bodyPr/>
        <a:lstStyle/>
        <a:p>
          <a:endParaRPr lang="en-US"/>
        </a:p>
      </dgm:t>
    </dgm:pt>
    <dgm:pt modelId="{97C892E7-3E30-474A-B636-10345D206185}" type="sibTrans" cxnId="{D5991DE2-8A45-4ABA-BBD4-610A8F02271C}">
      <dgm:prSet/>
      <dgm:spPr/>
      <dgm:t>
        <a:bodyPr/>
        <a:lstStyle/>
        <a:p>
          <a:endParaRPr lang="en-US"/>
        </a:p>
      </dgm:t>
    </dgm:pt>
    <dgm:pt modelId="{D62AA5E4-5F4E-41D9-ABE3-77947042AF60}">
      <dgm:prSet custT="1"/>
      <dgm:spPr/>
      <dgm:t>
        <a:bodyPr/>
        <a:lstStyle/>
        <a:p>
          <a:pPr>
            <a:lnSpc>
              <a:spcPct val="100000"/>
            </a:lnSpc>
          </a:pPr>
          <a:r>
            <a:rPr lang="en-US" sz="2000" dirty="0"/>
            <a:t>Persisted in the primary replica’s Query Store</a:t>
          </a:r>
        </a:p>
      </dgm:t>
    </dgm:pt>
    <dgm:pt modelId="{85BB67E2-0A3B-46C1-9433-F53216EF7F14}" type="parTrans" cxnId="{B627552E-2A07-49DD-84EA-FE8E704ECE8B}">
      <dgm:prSet/>
      <dgm:spPr/>
      <dgm:t>
        <a:bodyPr/>
        <a:lstStyle/>
        <a:p>
          <a:endParaRPr lang="en-US"/>
        </a:p>
      </dgm:t>
    </dgm:pt>
    <dgm:pt modelId="{239FAC09-C5B2-4CBC-8C03-D97D0504DD6F}" type="sibTrans" cxnId="{B627552E-2A07-49DD-84EA-FE8E704ECE8B}">
      <dgm:prSet/>
      <dgm:spPr/>
      <dgm:t>
        <a:bodyPr/>
        <a:lstStyle/>
        <a:p>
          <a:endParaRPr lang="en-US"/>
        </a:p>
      </dgm:t>
    </dgm:pt>
    <dgm:pt modelId="{21390780-190B-4B10-ADA3-B7C3BCAD29F3}">
      <dgm:prSet custT="1"/>
      <dgm:spPr/>
      <dgm:t>
        <a:bodyPr/>
        <a:lstStyle/>
        <a:p>
          <a:pPr>
            <a:lnSpc>
              <a:spcPct val="100000"/>
            </a:lnSpc>
          </a:pPr>
          <a:r>
            <a:rPr lang="en-US" sz="2000"/>
            <a:t>Considerations</a:t>
          </a:r>
        </a:p>
      </dgm:t>
    </dgm:pt>
    <dgm:pt modelId="{53E88F1E-9EE6-4668-A315-5E78C7A952D7}" type="parTrans" cxnId="{A8E49992-46AD-4632-82CA-2B2D7BF32A73}">
      <dgm:prSet/>
      <dgm:spPr/>
      <dgm:t>
        <a:bodyPr/>
        <a:lstStyle/>
        <a:p>
          <a:endParaRPr lang="en-US"/>
        </a:p>
      </dgm:t>
    </dgm:pt>
    <dgm:pt modelId="{B62367C6-50B8-4676-8A5E-B847608250EE}" type="sibTrans" cxnId="{A8E49992-46AD-4632-82CA-2B2D7BF32A73}">
      <dgm:prSet/>
      <dgm:spPr/>
      <dgm:t>
        <a:bodyPr/>
        <a:lstStyle/>
        <a:p>
          <a:endParaRPr lang="en-US"/>
        </a:p>
      </dgm:t>
    </dgm:pt>
    <dgm:pt modelId="{FE5D1197-A08C-4F79-9DA6-CC1EB98F7D25}">
      <dgm:prSet custT="1"/>
      <dgm:spPr/>
      <dgm:t>
        <a:bodyPr/>
        <a:lstStyle/>
        <a:p>
          <a:pPr>
            <a:lnSpc>
              <a:spcPct val="100000"/>
            </a:lnSpc>
          </a:pPr>
          <a:r>
            <a:rPr lang="en-US" sz="2000" dirty="0"/>
            <a:t>Sharing bandwidth with outgoing transaction records</a:t>
          </a:r>
        </a:p>
      </dgm:t>
    </dgm:pt>
    <dgm:pt modelId="{DB67CA79-FB70-4CD5-B844-2015936EAB18}" type="parTrans" cxnId="{91E21DA4-4C21-498F-8A58-D17F1F88D136}">
      <dgm:prSet/>
      <dgm:spPr/>
      <dgm:t>
        <a:bodyPr/>
        <a:lstStyle/>
        <a:p>
          <a:endParaRPr lang="en-US"/>
        </a:p>
      </dgm:t>
    </dgm:pt>
    <dgm:pt modelId="{AA4244A7-518E-4867-AED2-4468A1116673}" type="sibTrans" cxnId="{91E21DA4-4C21-498F-8A58-D17F1F88D136}">
      <dgm:prSet/>
      <dgm:spPr/>
      <dgm:t>
        <a:bodyPr/>
        <a:lstStyle/>
        <a:p>
          <a:endParaRPr lang="en-US"/>
        </a:p>
      </dgm:t>
    </dgm:pt>
    <dgm:pt modelId="{D1776DFE-DD56-4C35-88A9-E598779EC893}">
      <dgm:prSet custT="1"/>
      <dgm:spPr/>
      <dgm:t>
        <a:bodyPr/>
        <a:lstStyle/>
        <a:p>
          <a:pPr>
            <a:lnSpc>
              <a:spcPct val="100000"/>
            </a:lnSpc>
          </a:pPr>
          <a:r>
            <a:rPr lang="en-US" sz="2000" dirty="0"/>
            <a:t>A shared Query Store will be larger </a:t>
          </a:r>
        </a:p>
      </dgm:t>
    </dgm:pt>
    <dgm:pt modelId="{C4736A9A-1E50-431D-8F70-3DA28DA17472}" type="parTrans" cxnId="{0A968531-5E0F-4859-B789-5802232CCA3C}">
      <dgm:prSet/>
      <dgm:spPr/>
      <dgm:t>
        <a:bodyPr/>
        <a:lstStyle/>
        <a:p>
          <a:endParaRPr lang="en-US"/>
        </a:p>
      </dgm:t>
    </dgm:pt>
    <dgm:pt modelId="{2F6313D7-45F1-4E6A-85D0-32CB31932DBD}" type="sibTrans" cxnId="{0A968531-5E0F-4859-B789-5802232CCA3C}">
      <dgm:prSet/>
      <dgm:spPr/>
      <dgm:t>
        <a:bodyPr/>
        <a:lstStyle/>
        <a:p>
          <a:endParaRPr lang="en-US"/>
        </a:p>
      </dgm:t>
    </dgm:pt>
    <dgm:pt modelId="{1F16E437-EB6C-40B2-8E0D-3173614B03CF}">
      <dgm:prSet custT="1"/>
      <dgm:spPr/>
      <dgm:t>
        <a:bodyPr/>
        <a:lstStyle/>
        <a:p>
          <a:pPr>
            <a:lnSpc>
              <a:spcPct val="100000"/>
            </a:lnSpc>
          </a:pPr>
          <a:r>
            <a:rPr lang="en-US" sz="2000" dirty="0"/>
            <a:t>Impact of </a:t>
          </a:r>
          <a:r>
            <a:rPr lang="en-US" sz="2000" i="1" dirty="0"/>
            <a:t>ad hoc </a:t>
          </a:r>
          <a:r>
            <a:rPr lang="en-US" sz="2000" dirty="0"/>
            <a:t>workloads run on secondary replicas</a:t>
          </a:r>
        </a:p>
      </dgm:t>
    </dgm:pt>
    <dgm:pt modelId="{713665BD-3B59-473D-9E8A-27D0A8150AAF}" type="parTrans" cxnId="{53A5AF8A-701F-4C74-A56E-D4579D7DCBF8}">
      <dgm:prSet/>
      <dgm:spPr/>
      <dgm:t>
        <a:bodyPr/>
        <a:lstStyle/>
        <a:p>
          <a:endParaRPr lang="en-US"/>
        </a:p>
      </dgm:t>
    </dgm:pt>
    <dgm:pt modelId="{9162FD7F-F459-4524-B741-0145EAF02C83}" type="sibTrans" cxnId="{53A5AF8A-701F-4C74-A56E-D4579D7DCBF8}">
      <dgm:prSet/>
      <dgm:spPr/>
      <dgm:t>
        <a:bodyPr/>
        <a:lstStyle/>
        <a:p>
          <a:endParaRPr lang="en-US"/>
        </a:p>
      </dgm:t>
    </dgm:pt>
    <dgm:pt modelId="{47DC1731-BAD2-4C18-86C5-474975A9ED9C}">
      <dgm:prSet custT="1"/>
      <dgm:spPr/>
      <dgm:t>
        <a:bodyPr/>
        <a:lstStyle/>
        <a:p>
          <a:pPr>
            <a:lnSpc>
              <a:spcPct val="100000"/>
            </a:lnSpc>
          </a:pPr>
          <a:r>
            <a:rPr lang="en-US" sz="2000" b="0" i="0" dirty="0"/>
            <a:t>You must enable trace flag 12606 before you can enable Query Store for secondary replicas.</a:t>
          </a:r>
          <a:endParaRPr lang="en-US" sz="2000" dirty="0"/>
        </a:p>
      </dgm:t>
    </dgm:pt>
    <dgm:pt modelId="{FA5FA15C-2CF2-4521-ABF3-AF4D8C3778F4}" type="parTrans" cxnId="{A4F0B3D9-500B-4952-BC91-FC2C501BF572}">
      <dgm:prSet/>
      <dgm:spPr/>
      <dgm:t>
        <a:bodyPr/>
        <a:lstStyle/>
        <a:p>
          <a:endParaRPr lang="en-US"/>
        </a:p>
      </dgm:t>
    </dgm:pt>
    <dgm:pt modelId="{B3E92EA6-F05E-49DC-B70B-04E42D7C7C9D}" type="sibTrans" cxnId="{A4F0B3D9-500B-4952-BC91-FC2C501BF572}">
      <dgm:prSet/>
      <dgm:spPr/>
      <dgm:t>
        <a:bodyPr/>
        <a:lstStyle/>
        <a:p>
          <a:endParaRPr lang="en-US"/>
        </a:p>
      </dgm:t>
    </dgm:pt>
    <dgm:pt modelId="{6B621666-5A98-4CFF-9903-85B3EAE9BBC2}" type="pres">
      <dgm:prSet presAssocID="{C86AC099-4B55-4F1C-A4DB-8C8752DD6391}" presName="linear" presStyleCnt="0">
        <dgm:presLayoutVars>
          <dgm:animLvl val="lvl"/>
          <dgm:resizeHandles val="exact"/>
        </dgm:presLayoutVars>
      </dgm:prSet>
      <dgm:spPr/>
    </dgm:pt>
    <dgm:pt modelId="{9146D012-5A8A-4EAC-A206-34D514DF839A}" type="pres">
      <dgm:prSet presAssocID="{BFBDBD4F-9A33-44B1-8C84-D9F798BB8BF1}" presName="parentText" presStyleLbl="node1" presStyleIdx="0" presStyleCnt="5">
        <dgm:presLayoutVars>
          <dgm:chMax val="0"/>
          <dgm:bulletEnabled val="1"/>
        </dgm:presLayoutVars>
      </dgm:prSet>
      <dgm:spPr/>
    </dgm:pt>
    <dgm:pt modelId="{E7335AF1-E3C9-49A2-AB15-0FF28EB8CCBB}" type="pres">
      <dgm:prSet presAssocID="{268673C4-4F5A-4B6F-BCDE-8B848F9933E9}" presName="spacer" presStyleCnt="0"/>
      <dgm:spPr/>
    </dgm:pt>
    <dgm:pt modelId="{B0E1E4A6-B7E0-4837-97CC-2982FDA7A498}" type="pres">
      <dgm:prSet presAssocID="{DC0CD161-2EED-4D08-B8DB-F988511F0BB6}" presName="parentText" presStyleLbl="node1" presStyleIdx="1" presStyleCnt="5">
        <dgm:presLayoutVars>
          <dgm:chMax val="0"/>
          <dgm:bulletEnabled val="1"/>
        </dgm:presLayoutVars>
      </dgm:prSet>
      <dgm:spPr/>
    </dgm:pt>
    <dgm:pt modelId="{A811E38E-A45A-4615-B4DF-2F7161130A85}" type="pres">
      <dgm:prSet presAssocID="{97C892E7-3E30-474A-B636-10345D206185}" presName="spacer" presStyleCnt="0"/>
      <dgm:spPr/>
    </dgm:pt>
    <dgm:pt modelId="{7956D9E2-5603-4D64-A574-C6BC938A0E25}" type="pres">
      <dgm:prSet presAssocID="{D62AA5E4-5F4E-41D9-ABE3-77947042AF60}" presName="parentText" presStyleLbl="node1" presStyleIdx="2" presStyleCnt="5">
        <dgm:presLayoutVars>
          <dgm:chMax val="0"/>
          <dgm:bulletEnabled val="1"/>
        </dgm:presLayoutVars>
      </dgm:prSet>
      <dgm:spPr/>
    </dgm:pt>
    <dgm:pt modelId="{6F81BAC7-E7B0-453D-85D4-F8C99A36162D}" type="pres">
      <dgm:prSet presAssocID="{239FAC09-C5B2-4CBC-8C03-D97D0504DD6F}" presName="spacer" presStyleCnt="0"/>
      <dgm:spPr/>
    </dgm:pt>
    <dgm:pt modelId="{206FCD88-4DCA-4270-9353-0269832EFBF5}" type="pres">
      <dgm:prSet presAssocID="{47DC1731-BAD2-4C18-86C5-474975A9ED9C}" presName="parentText" presStyleLbl="node1" presStyleIdx="3" presStyleCnt="5">
        <dgm:presLayoutVars>
          <dgm:chMax val="0"/>
          <dgm:bulletEnabled val="1"/>
        </dgm:presLayoutVars>
      </dgm:prSet>
      <dgm:spPr/>
    </dgm:pt>
    <dgm:pt modelId="{787AF4AA-26BC-45FE-B330-09BE7BFE6F7A}" type="pres">
      <dgm:prSet presAssocID="{B3E92EA6-F05E-49DC-B70B-04E42D7C7C9D}" presName="spacer" presStyleCnt="0"/>
      <dgm:spPr/>
    </dgm:pt>
    <dgm:pt modelId="{ABAEEEFF-98DA-48A0-A294-EA55118D76B8}" type="pres">
      <dgm:prSet presAssocID="{21390780-190B-4B10-ADA3-B7C3BCAD29F3}" presName="parentText" presStyleLbl="node1" presStyleIdx="4" presStyleCnt="5">
        <dgm:presLayoutVars>
          <dgm:chMax val="0"/>
          <dgm:bulletEnabled val="1"/>
        </dgm:presLayoutVars>
      </dgm:prSet>
      <dgm:spPr/>
    </dgm:pt>
    <dgm:pt modelId="{E0D87532-4BC4-4B16-A605-E37F028974FF}" type="pres">
      <dgm:prSet presAssocID="{21390780-190B-4B10-ADA3-B7C3BCAD29F3}" presName="childText" presStyleLbl="revTx" presStyleIdx="0" presStyleCnt="1">
        <dgm:presLayoutVars>
          <dgm:bulletEnabled val="1"/>
        </dgm:presLayoutVars>
      </dgm:prSet>
      <dgm:spPr/>
    </dgm:pt>
  </dgm:ptLst>
  <dgm:cxnLst>
    <dgm:cxn modelId="{53C28727-117A-4E7B-8D00-5AFC13AABA5F}" type="presOf" srcId="{D62AA5E4-5F4E-41D9-ABE3-77947042AF60}" destId="{7956D9E2-5603-4D64-A574-C6BC938A0E25}" srcOrd="0" destOrd="0" presId="urn:microsoft.com/office/officeart/2005/8/layout/vList2"/>
    <dgm:cxn modelId="{B627552E-2A07-49DD-84EA-FE8E704ECE8B}" srcId="{C86AC099-4B55-4F1C-A4DB-8C8752DD6391}" destId="{D62AA5E4-5F4E-41D9-ABE3-77947042AF60}" srcOrd="2" destOrd="0" parTransId="{85BB67E2-0A3B-46C1-9433-F53216EF7F14}" sibTransId="{239FAC09-C5B2-4CBC-8C03-D97D0504DD6F}"/>
    <dgm:cxn modelId="{0A968531-5E0F-4859-B789-5802232CCA3C}" srcId="{21390780-190B-4B10-ADA3-B7C3BCAD29F3}" destId="{D1776DFE-DD56-4C35-88A9-E598779EC893}" srcOrd="1" destOrd="0" parTransId="{C4736A9A-1E50-431D-8F70-3DA28DA17472}" sibTransId="{2F6313D7-45F1-4E6A-85D0-32CB31932DBD}"/>
    <dgm:cxn modelId="{B047996F-4949-4413-8FEA-481CB07AC44E}" type="presOf" srcId="{FE5D1197-A08C-4F79-9DA6-CC1EB98F7D25}" destId="{E0D87532-4BC4-4B16-A605-E37F028974FF}" srcOrd="0" destOrd="0" presId="urn:microsoft.com/office/officeart/2005/8/layout/vList2"/>
    <dgm:cxn modelId="{53A5AF8A-701F-4C74-A56E-D4579D7DCBF8}" srcId="{21390780-190B-4B10-ADA3-B7C3BCAD29F3}" destId="{1F16E437-EB6C-40B2-8E0D-3173614B03CF}" srcOrd="2" destOrd="0" parTransId="{713665BD-3B59-473D-9E8A-27D0A8150AAF}" sibTransId="{9162FD7F-F459-4524-B741-0145EAF02C83}"/>
    <dgm:cxn modelId="{0802488E-9B6C-4C29-9F7F-89EBDD5D8C7B}" type="presOf" srcId="{C86AC099-4B55-4F1C-A4DB-8C8752DD6391}" destId="{6B621666-5A98-4CFF-9903-85B3EAE9BBC2}" srcOrd="0" destOrd="0" presId="urn:microsoft.com/office/officeart/2005/8/layout/vList2"/>
    <dgm:cxn modelId="{A8E49992-46AD-4632-82CA-2B2D7BF32A73}" srcId="{C86AC099-4B55-4F1C-A4DB-8C8752DD6391}" destId="{21390780-190B-4B10-ADA3-B7C3BCAD29F3}" srcOrd="4" destOrd="0" parTransId="{53E88F1E-9EE6-4668-A315-5E78C7A952D7}" sibTransId="{B62367C6-50B8-4676-8A5E-B847608250EE}"/>
    <dgm:cxn modelId="{1D4E74A2-12E2-47E7-9B42-B6EFE53FECD6}" type="presOf" srcId="{D1776DFE-DD56-4C35-88A9-E598779EC893}" destId="{E0D87532-4BC4-4B16-A605-E37F028974FF}" srcOrd="0" destOrd="1" presId="urn:microsoft.com/office/officeart/2005/8/layout/vList2"/>
    <dgm:cxn modelId="{91E21DA4-4C21-498F-8A58-D17F1F88D136}" srcId="{21390780-190B-4B10-ADA3-B7C3BCAD29F3}" destId="{FE5D1197-A08C-4F79-9DA6-CC1EB98F7D25}" srcOrd="0" destOrd="0" parTransId="{DB67CA79-FB70-4CD5-B844-2015936EAB18}" sibTransId="{AA4244A7-518E-4867-AED2-4468A1116673}"/>
    <dgm:cxn modelId="{1D459EAE-AA6B-4752-B811-4847FAC9808A}" type="presOf" srcId="{BFBDBD4F-9A33-44B1-8C84-D9F798BB8BF1}" destId="{9146D012-5A8A-4EAC-A206-34D514DF839A}" srcOrd="0" destOrd="0" presId="urn:microsoft.com/office/officeart/2005/8/layout/vList2"/>
    <dgm:cxn modelId="{F6AB0EB2-DE3E-4A98-B263-D74588000264}" type="presOf" srcId="{21390780-190B-4B10-ADA3-B7C3BCAD29F3}" destId="{ABAEEEFF-98DA-48A0-A294-EA55118D76B8}" srcOrd="0" destOrd="0" presId="urn:microsoft.com/office/officeart/2005/8/layout/vList2"/>
    <dgm:cxn modelId="{72399ABA-616A-411D-99F2-3A765EB46CFD}" type="presOf" srcId="{47DC1731-BAD2-4C18-86C5-474975A9ED9C}" destId="{206FCD88-4DCA-4270-9353-0269832EFBF5}" srcOrd="0" destOrd="0" presId="urn:microsoft.com/office/officeart/2005/8/layout/vList2"/>
    <dgm:cxn modelId="{F476DAC6-B13B-415E-A518-BD44795E0FC8}" type="presOf" srcId="{DC0CD161-2EED-4D08-B8DB-F988511F0BB6}" destId="{B0E1E4A6-B7E0-4837-97CC-2982FDA7A498}" srcOrd="0" destOrd="0" presId="urn:microsoft.com/office/officeart/2005/8/layout/vList2"/>
    <dgm:cxn modelId="{A4F0B3D9-500B-4952-BC91-FC2C501BF572}" srcId="{C86AC099-4B55-4F1C-A4DB-8C8752DD6391}" destId="{47DC1731-BAD2-4C18-86C5-474975A9ED9C}" srcOrd="3" destOrd="0" parTransId="{FA5FA15C-2CF2-4521-ABF3-AF4D8C3778F4}" sibTransId="{B3E92EA6-F05E-49DC-B70B-04E42D7C7C9D}"/>
    <dgm:cxn modelId="{3FD749DE-8482-4112-B5ED-75301865D449}" srcId="{C86AC099-4B55-4F1C-A4DB-8C8752DD6391}" destId="{BFBDBD4F-9A33-44B1-8C84-D9F798BB8BF1}" srcOrd="0" destOrd="0" parTransId="{09220918-FC97-48E8-BB8E-42919450B36F}" sibTransId="{268673C4-4F5A-4B6F-BCDE-8B848F9933E9}"/>
    <dgm:cxn modelId="{D5991DE2-8A45-4ABA-BBD4-610A8F02271C}" srcId="{C86AC099-4B55-4F1C-A4DB-8C8752DD6391}" destId="{DC0CD161-2EED-4D08-B8DB-F988511F0BB6}" srcOrd="1" destOrd="0" parTransId="{DF348296-D429-4087-BE36-B50D64BC02A5}" sibTransId="{97C892E7-3E30-474A-B636-10345D206185}"/>
    <dgm:cxn modelId="{842491FD-EA73-4BC0-B85D-1E122A459D14}" type="presOf" srcId="{1F16E437-EB6C-40B2-8E0D-3173614B03CF}" destId="{E0D87532-4BC4-4B16-A605-E37F028974FF}" srcOrd="0" destOrd="2" presId="urn:microsoft.com/office/officeart/2005/8/layout/vList2"/>
    <dgm:cxn modelId="{52EFC951-6689-4EF7-A4D3-1DDE68CE69A4}" type="presParOf" srcId="{6B621666-5A98-4CFF-9903-85B3EAE9BBC2}" destId="{9146D012-5A8A-4EAC-A206-34D514DF839A}" srcOrd="0" destOrd="0" presId="urn:microsoft.com/office/officeart/2005/8/layout/vList2"/>
    <dgm:cxn modelId="{E0501E9D-88D9-4E38-B594-09DB62941C78}" type="presParOf" srcId="{6B621666-5A98-4CFF-9903-85B3EAE9BBC2}" destId="{E7335AF1-E3C9-49A2-AB15-0FF28EB8CCBB}" srcOrd="1" destOrd="0" presId="urn:microsoft.com/office/officeart/2005/8/layout/vList2"/>
    <dgm:cxn modelId="{824CEF7C-B58C-427B-9711-E0ECA1C35034}" type="presParOf" srcId="{6B621666-5A98-4CFF-9903-85B3EAE9BBC2}" destId="{B0E1E4A6-B7E0-4837-97CC-2982FDA7A498}" srcOrd="2" destOrd="0" presId="urn:microsoft.com/office/officeart/2005/8/layout/vList2"/>
    <dgm:cxn modelId="{DCBE7BB1-AFAF-46D2-8444-9612327643EE}" type="presParOf" srcId="{6B621666-5A98-4CFF-9903-85B3EAE9BBC2}" destId="{A811E38E-A45A-4615-B4DF-2F7161130A85}" srcOrd="3" destOrd="0" presId="urn:microsoft.com/office/officeart/2005/8/layout/vList2"/>
    <dgm:cxn modelId="{DD712937-2F75-4445-94F6-82092C22E7A1}" type="presParOf" srcId="{6B621666-5A98-4CFF-9903-85B3EAE9BBC2}" destId="{7956D9E2-5603-4D64-A574-C6BC938A0E25}" srcOrd="4" destOrd="0" presId="urn:microsoft.com/office/officeart/2005/8/layout/vList2"/>
    <dgm:cxn modelId="{4C2F2C40-C4DC-4CBA-973A-45FEF046304F}" type="presParOf" srcId="{6B621666-5A98-4CFF-9903-85B3EAE9BBC2}" destId="{6F81BAC7-E7B0-453D-85D4-F8C99A36162D}" srcOrd="5" destOrd="0" presId="urn:microsoft.com/office/officeart/2005/8/layout/vList2"/>
    <dgm:cxn modelId="{E9D52620-0D95-4F5B-8C4F-F61A0E0D2727}" type="presParOf" srcId="{6B621666-5A98-4CFF-9903-85B3EAE9BBC2}" destId="{206FCD88-4DCA-4270-9353-0269832EFBF5}" srcOrd="6" destOrd="0" presId="urn:microsoft.com/office/officeart/2005/8/layout/vList2"/>
    <dgm:cxn modelId="{776A3187-4B3F-4A91-819D-647097750C45}" type="presParOf" srcId="{6B621666-5A98-4CFF-9903-85B3EAE9BBC2}" destId="{787AF4AA-26BC-45FE-B330-09BE7BFE6F7A}" srcOrd="7" destOrd="0" presId="urn:microsoft.com/office/officeart/2005/8/layout/vList2"/>
    <dgm:cxn modelId="{F1ECF057-A314-43D8-B3DB-9916E4522870}" type="presParOf" srcId="{6B621666-5A98-4CFF-9903-85B3EAE9BBC2}" destId="{ABAEEEFF-98DA-48A0-A294-EA55118D76B8}" srcOrd="8" destOrd="0" presId="urn:microsoft.com/office/officeart/2005/8/layout/vList2"/>
    <dgm:cxn modelId="{ABD06260-CFFA-4176-B615-09C75B3D9840}" type="presParOf" srcId="{6B621666-5A98-4CFF-9903-85B3EAE9BBC2}" destId="{E0D87532-4BC4-4B16-A605-E37F028974FF}"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80F00FC-6852-4B6C-9220-731CCC1727AA}"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ECC70E42-ABDD-4079-9238-FEA346C43D16}">
      <dgm:prSet custT="1"/>
      <dgm:spPr/>
      <dgm:t>
        <a:bodyPr/>
        <a:lstStyle/>
        <a:p>
          <a:r>
            <a:rPr lang="en-US" sz="2000" b="0" i="0" dirty="0"/>
            <a:t>Because the SQL Server Query Optimizer typically selects the best execution plan for a query, we recommend only using hints as a last resort. For more information, </a:t>
          </a:r>
          <a:r>
            <a:rPr lang="en-US" sz="2000" b="1" i="0" dirty="0">
              <a:hlinkClick xmlns:r="http://schemas.openxmlformats.org/officeDocument/2006/relationships" r:id="rId1"/>
            </a:rPr>
            <a:t>Query Hints</a:t>
          </a:r>
          <a:r>
            <a:rPr lang="en-US" sz="2000" b="0" i="0" dirty="0"/>
            <a:t>.</a:t>
          </a:r>
          <a:endParaRPr lang="en-US" sz="2000" dirty="0"/>
        </a:p>
      </dgm:t>
    </dgm:pt>
    <dgm:pt modelId="{5F8C3569-F02C-4E7F-B934-D275DC0268BA}" type="parTrans" cxnId="{51B29BC4-F57B-4902-B945-5626A99291DA}">
      <dgm:prSet/>
      <dgm:spPr/>
      <dgm:t>
        <a:bodyPr/>
        <a:lstStyle/>
        <a:p>
          <a:endParaRPr lang="en-US"/>
        </a:p>
      </dgm:t>
    </dgm:pt>
    <dgm:pt modelId="{06DC3BF3-0928-4662-8073-25691139E63A}" type="sibTrans" cxnId="{51B29BC4-F57B-4902-B945-5626A99291DA}">
      <dgm:prSet/>
      <dgm:spPr/>
      <dgm:t>
        <a:bodyPr/>
        <a:lstStyle/>
        <a:p>
          <a:endParaRPr lang="en-US"/>
        </a:p>
      </dgm:t>
    </dgm:pt>
    <dgm:pt modelId="{2B45FEC2-E70E-44B9-B8B6-70A5E0E056DA}">
      <dgm:prSet custT="1"/>
      <dgm:spPr/>
      <dgm:t>
        <a:bodyPr/>
        <a:lstStyle/>
        <a:p>
          <a:r>
            <a:rPr lang="en-US" sz="2000" b="0" i="0" dirty="0"/>
            <a:t>As the name suggests, this feature extends and depends on the </a:t>
          </a:r>
          <a:r>
            <a:rPr lang="en-US" sz="2000" b="1" i="0" dirty="0">
              <a:hlinkClick xmlns:r="http://schemas.openxmlformats.org/officeDocument/2006/relationships" r:id="rId2"/>
            </a:rPr>
            <a:t>Query Store</a:t>
          </a:r>
          <a:r>
            <a:rPr lang="en-US" sz="2000" b="0" i="0" dirty="0"/>
            <a:t>. </a:t>
          </a:r>
          <a:endParaRPr lang="en-US" sz="2000" dirty="0"/>
        </a:p>
      </dgm:t>
    </dgm:pt>
    <dgm:pt modelId="{B82D294A-0CF1-4BE8-9A76-F841411D2330}" type="parTrans" cxnId="{34FBB1B3-B91F-45F3-B994-7D23D4CB0BC9}">
      <dgm:prSet/>
      <dgm:spPr/>
      <dgm:t>
        <a:bodyPr/>
        <a:lstStyle/>
        <a:p>
          <a:endParaRPr lang="en-US"/>
        </a:p>
      </dgm:t>
    </dgm:pt>
    <dgm:pt modelId="{B36D7F8E-6BB6-46A3-918E-99F559F859EC}" type="sibTrans" cxnId="{34FBB1B3-B91F-45F3-B994-7D23D4CB0BC9}">
      <dgm:prSet/>
      <dgm:spPr/>
      <dgm:t>
        <a:bodyPr/>
        <a:lstStyle/>
        <a:p>
          <a:endParaRPr lang="en-US"/>
        </a:p>
      </dgm:t>
    </dgm:pt>
    <dgm:pt modelId="{2B838727-BEB0-4867-86A5-02E7E56A740F}">
      <dgm:prSet custT="1"/>
      <dgm:spPr/>
      <dgm:t>
        <a:bodyPr/>
        <a:lstStyle/>
        <a:p>
          <a:r>
            <a:rPr lang="en-US" sz="2000" b="0" i="0" dirty="0"/>
            <a:t>Query Store hints are available in Azure SQL Database and Azure SQL Managed Instance. Query Store hints are also a feature introduced to SQL Server in SQL Server 2022 (16.x).</a:t>
          </a:r>
          <a:endParaRPr lang="en-US" sz="2000" dirty="0"/>
        </a:p>
      </dgm:t>
    </dgm:pt>
    <dgm:pt modelId="{05835616-410A-41AF-AC4C-263FD9377AC8}" type="parTrans" cxnId="{F6C92F89-B8C7-4C87-87BD-A993B24B04D3}">
      <dgm:prSet/>
      <dgm:spPr/>
      <dgm:t>
        <a:bodyPr/>
        <a:lstStyle/>
        <a:p>
          <a:endParaRPr lang="en-US"/>
        </a:p>
      </dgm:t>
    </dgm:pt>
    <dgm:pt modelId="{8B790D24-C393-415C-90F1-A43DBDF692AE}" type="sibTrans" cxnId="{F6C92F89-B8C7-4C87-87BD-A993B24B04D3}">
      <dgm:prSet/>
      <dgm:spPr/>
      <dgm:t>
        <a:bodyPr/>
        <a:lstStyle/>
        <a:p>
          <a:endParaRPr lang="en-US"/>
        </a:p>
      </dgm:t>
    </dgm:pt>
    <dgm:pt modelId="{EF049B45-7523-489A-8C1A-624389C498F6}">
      <dgm:prSet custT="1"/>
      <dgm:spPr/>
      <dgm:t>
        <a:bodyPr/>
        <a:lstStyle/>
        <a:p>
          <a:r>
            <a:rPr lang="en-US" sz="2000"/>
            <a:t>Not all query hints are supported. Here is a list of </a:t>
          </a:r>
          <a:r>
            <a:rPr lang="en-US" sz="2000" b="1" i="0">
              <a:hlinkClick xmlns:r="http://schemas.openxmlformats.org/officeDocument/2006/relationships" r:id="rId3"/>
            </a:rPr>
            <a:t>Supported query hints</a:t>
          </a:r>
          <a:r>
            <a:rPr lang="en-US" sz="2000" b="1" i="0"/>
            <a:t>.</a:t>
          </a:r>
          <a:endParaRPr lang="en-US" sz="2000" dirty="0"/>
        </a:p>
      </dgm:t>
    </dgm:pt>
    <dgm:pt modelId="{8C8BA591-2CE5-4BA3-A631-757D8322689F}" type="parTrans" cxnId="{EA05C82E-1403-4151-A3A4-EE04D7381F15}">
      <dgm:prSet/>
      <dgm:spPr/>
      <dgm:t>
        <a:bodyPr/>
        <a:lstStyle/>
        <a:p>
          <a:endParaRPr lang="en-US"/>
        </a:p>
      </dgm:t>
    </dgm:pt>
    <dgm:pt modelId="{7E1AC53F-3E41-47D1-8ED4-6249A22C4D87}" type="sibTrans" cxnId="{EA05C82E-1403-4151-A3A4-EE04D7381F15}">
      <dgm:prSet/>
      <dgm:spPr/>
      <dgm:t>
        <a:bodyPr/>
        <a:lstStyle/>
        <a:p>
          <a:endParaRPr lang="en-US"/>
        </a:p>
      </dgm:t>
    </dgm:pt>
    <dgm:pt modelId="{2B120762-4CC6-4336-B000-F9E8C76DD64E}" type="pres">
      <dgm:prSet presAssocID="{C80F00FC-6852-4B6C-9220-731CCC1727AA}" presName="linear" presStyleCnt="0">
        <dgm:presLayoutVars>
          <dgm:animLvl val="lvl"/>
          <dgm:resizeHandles val="exact"/>
        </dgm:presLayoutVars>
      </dgm:prSet>
      <dgm:spPr/>
    </dgm:pt>
    <dgm:pt modelId="{C292D4A8-0738-4BB0-991C-9A2C35B6FA78}" type="pres">
      <dgm:prSet presAssocID="{2B838727-BEB0-4867-86A5-02E7E56A740F}" presName="parentText" presStyleLbl="node1" presStyleIdx="0" presStyleCnt="4">
        <dgm:presLayoutVars>
          <dgm:chMax val="0"/>
          <dgm:bulletEnabled val="1"/>
        </dgm:presLayoutVars>
      </dgm:prSet>
      <dgm:spPr/>
    </dgm:pt>
    <dgm:pt modelId="{992DB8ED-2358-4C11-A204-2A4B86E25EA1}" type="pres">
      <dgm:prSet presAssocID="{8B790D24-C393-415C-90F1-A43DBDF692AE}" presName="spacer" presStyleCnt="0"/>
      <dgm:spPr/>
    </dgm:pt>
    <dgm:pt modelId="{BDD851FB-5447-41CD-9C45-200B8064F80C}" type="pres">
      <dgm:prSet presAssocID="{2B45FEC2-E70E-44B9-B8B6-70A5E0E056DA}" presName="parentText" presStyleLbl="node1" presStyleIdx="1" presStyleCnt="4">
        <dgm:presLayoutVars>
          <dgm:chMax val="0"/>
          <dgm:bulletEnabled val="1"/>
        </dgm:presLayoutVars>
      </dgm:prSet>
      <dgm:spPr/>
    </dgm:pt>
    <dgm:pt modelId="{A567DD00-C5BB-46A5-AC6D-523B49C7941A}" type="pres">
      <dgm:prSet presAssocID="{B36D7F8E-6BB6-46A3-918E-99F559F859EC}" presName="spacer" presStyleCnt="0"/>
      <dgm:spPr/>
    </dgm:pt>
    <dgm:pt modelId="{720BCFBD-0752-4126-838F-AF3F21F8B494}" type="pres">
      <dgm:prSet presAssocID="{EF049B45-7523-489A-8C1A-624389C498F6}" presName="parentText" presStyleLbl="node1" presStyleIdx="2" presStyleCnt="4">
        <dgm:presLayoutVars>
          <dgm:chMax val="0"/>
          <dgm:bulletEnabled val="1"/>
        </dgm:presLayoutVars>
      </dgm:prSet>
      <dgm:spPr/>
    </dgm:pt>
    <dgm:pt modelId="{54A1C47C-8161-4CD8-A368-F416B27CBEFF}" type="pres">
      <dgm:prSet presAssocID="{7E1AC53F-3E41-47D1-8ED4-6249A22C4D87}" presName="spacer" presStyleCnt="0"/>
      <dgm:spPr/>
    </dgm:pt>
    <dgm:pt modelId="{F24E5A99-3377-41C8-A556-898BEFE224D7}" type="pres">
      <dgm:prSet presAssocID="{ECC70E42-ABDD-4079-9238-FEA346C43D16}" presName="parentText" presStyleLbl="node1" presStyleIdx="3" presStyleCnt="4">
        <dgm:presLayoutVars>
          <dgm:chMax val="0"/>
          <dgm:bulletEnabled val="1"/>
        </dgm:presLayoutVars>
      </dgm:prSet>
      <dgm:spPr/>
    </dgm:pt>
  </dgm:ptLst>
  <dgm:cxnLst>
    <dgm:cxn modelId="{42CA8A0F-0C00-4F6B-A86F-E9BFF2F5F213}" type="presOf" srcId="{2B45FEC2-E70E-44B9-B8B6-70A5E0E056DA}" destId="{BDD851FB-5447-41CD-9C45-200B8064F80C}" srcOrd="0" destOrd="0" presId="urn:microsoft.com/office/officeart/2005/8/layout/vList2"/>
    <dgm:cxn modelId="{89455117-59AF-4445-ACD8-060E3341F6D3}" type="presOf" srcId="{2B838727-BEB0-4867-86A5-02E7E56A740F}" destId="{C292D4A8-0738-4BB0-991C-9A2C35B6FA78}" srcOrd="0" destOrd="0" presId="urn:microsoft.com/office/officeart/2005/8/layout/vList2"/>
    <dgm:cxn modelId="{EA05C82E-1403-4151-A3A4-EE04D7381F15}" srcId="{C80F00FC-6852-4B6C-9220-731CCC1727AA}" destId="{EF049B45-7523-489A-8C1A-624389C498F6}" srcOrd="2" destOrd="0" parTransId="{8C8BA591-2CE5-4BA3-A631-757D8322689F}" sibTransId="{7E1AC53F-3E41-47D1-8ED4-6249A22C4D87}"/>
    <dgm:cxn modelId="{5B432989-4781-4D75-AF1E-32BF5C8C71E8}" type="presOf" srcId="{EF049B45-7523-489A-8C1A-624389C498F6}" destId="{720BCFBD-0752-4126-838F-AF3F21F8B494}" srcOrd="0" destOrd="0" presId="urn:microsoft.com/office/officeart/2005/8/layout/vList2"/>
    <dgm:cxn modelId="{F6C92F89-B8C7-4C87-87BD-A993B24B04D3}" srcId="{C80F00FC-6852-4B6C-9220-731CCC1727AA}" destId="{2B838727-BEB0-4867-86A5-02E7E56A740F}" srcOrd="0" destOrd="0" parTransId="{05835616-410A-41AF-AC4C-263FD9377AC8}" sibTransId="{8B790D24-C393-415C-90F1-A43DBDF692AE}"/>
    <dgm:cxn modelId="{62F4A48D-95B0-43A3-985A-BED3B9F5BCC4}" type="presOf" srcId="{C80F00FC-6852-4B6C-9220-731CCC1727AA}" destId="{2B120762-4CC6-4336-B000-F9E8C76DD64E}" srcOrd="0" destOrd="0" presId="urn:microsoft.com/office/officeart/2005/8/layout/vList2"/>
    <dgm:cxn modelId="{D65FF191-AFEB-4AEE-91EF-486B8795CA4E}" type="presOf" srcId="{ECC70E42-ABDD-4079-9238-FEA346C43D16}" destId="{F24E5A99-3377-41C8-A556-898BEFE224D7}" srcOrd="0" destOrd="0" presId="urn:microsoft.com/office/officeart/2005/8/layout/vList2"/>
    <dgm:cxn modelId="{34FBB1B3-B91F-45F3-B994-7D23D4CB0BC9}" srcId="{C80F00FC-6852-4B6C-9220-731CCC1727AA}" destId="{2B45FEC2-E70E-44B9-B8B6-70A5E0E056DA}" srcOrd="1" destOrd="0" parTransId="{B82D294A-0CF1-4BE8-9A76-F841411D2330}" sibTransId="{B36D7F8E-6BB6-46A3-918E-99F559F859EC}"/>
    <dgm:cxn modelId="{51B29BC4-F57B-4902-B945-5626A99291DA}" srcId="{C80F00FC-6852-4B6C-9220-731CCC1727AA}" destId="{ECC70E42-ABDD-4079-9238-FEA346C43D16}" srcOrd="3" destOrd="0" parTransId="{5F8C3569-F02C-4E7F-B934-D275DC0268BA}" sibTransId="{06DC3BF3-0928-4662-8073-25691139E63A}"/>
    <dgm:cxn modelId="{81E469B7-CCC1-4D00-B714-BC9307F59FA0}" type="presParOf" srcId="{2B120762-4CC6-4336-B000-F9E8C76DD64E}" destId="{C292D4A8-0738-4BB0-991C-9A2C35B6FA78}" srcOrd="0" destOrd="0" presId="urn:microsoft.com/office/officeart/2005/8/layout/vList2"/>
    <dgm:cxn modelId="{C7097D29-9DBF-4700-8032-D00B84052EAA}" type="presParOf" srcId="{2B120762-4CC6-4336-B000-F9E8C76DD64E}" destId="{992DB8ED-2358-4C11-A204-2A4B86E25EA1}" srcOrd="1" destOrd="0" presId="urn:microsoft.com/office/officeart/2005/8/layout/vList2"/>
    <dgm:cxn modelId="{6875358F-716C-4C94-9B22-2F53E0C42259}" type="presParOf" srcId="{2B120762-4CC6-4336-B000-F9E8C76DD64E}" destId="{BDD851FB-5447-41CD-9C45-200B8064F80C}" srcOrd="2" destOrd="0" presId="urn:microsoft.com/office/officeart/2005/8/layout/vList2"/>
    <dgm:cxn modelId="{60C2EA8B-BB00-4DD1-8A5E-BE48EF0645ED}" type="presParOf" srcId="{2B120762-4CC6-4336-B000-F9E8C76DD64E}" destId="{A567DD00-C5BB-46A5-AC6D-523B49C7941A}" srcOrd="3" destOrd="0" presId="urn:microsoft.com/office/officeart/2005/8/layout/vList2"/>
    <dgm:cxn modelId="{69E95AFF-CD71-47A2-A375-526B19F3C847}" type="presParOf" srcId="{2B120762-4CC6-4336-B000-F9E8C76DD64E}" destId="{720BCFBD-0752-4126-838F-AF3F21F8B494}" srcOrd="4" destOrd="0" presId="urn:microsoft.com/office/officeart/2005/8/layout/vList2"/>
    <dgm:cxn modelId="{2E5CE025-00FA-4065-A408-01E4FBB6BBE8}" type="presParOf" srcId="{2B120762-4CC6-4336-B000-F9E8C76DD64E}" destId="{54A1C47C-8161-4CD8-A368-F416B27CBEFF}" srcOrd="5" destOrd="0" presId="urn:microsoft.com/office/officeart/2005/8/layout/vList2"/>
    <dgm:cxn modelId="{AF33D8D7-6689-4158-A173-B96A1C400103}" type="presParOf" srcId="{2B120762-4CC6-4336-B000-F9E8C76DD64E}" destId="{F24E5A99-3377-41C8-A556-898BEFE224D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80F00FC-6852-4B6C-9220-731CCC1727AA}" type="doc">
      <dgm:prSet loTypeId="urn:microsoft.com/office/officeart/2005/8/layout/list1" loCatId="list" qsTypeId="urn:microsoft.com/office/officeart/2005/8/quickstyle/simple4" qsCatId="simple" csTypeId="urn:microsoft.com/office/officeart/2005/8/colors/accent1_2" csCatId="accent1" phldr="1"/>
      <dgm:spPr/>
      <dgm:t>
        <a:bodyPr/>
        <a:lstStyle/>
        <a:p>
          <a:endParaRPr lang="en-US"/>
        </a:p>
      </dgm:t>
    </dgm:pt>
    <dgm:pt modelId="{CAB7AD89-900C-45A8-8FD3-C32B43C4D5B7}">
      <dgm:prSet/>
      <dgm:spPr/>
      <dgm:t>
        <a:bodyPr/>
        <a:lstStyle/>
        <a:p>
          <a:r>
            <a:rPr lang="en-US" dirty="0"/>
            <a:t>Use Cases</a:t>
          </a:r>
        </a:p>
      </dgm:t>
    </dgm:pt>
    <dgm:pt modelId="{792C84A6-9D5B-49EE-BC4E-069EED6BC49A}" type="parTrans" cxnId="{358DF478-775D-4008-960B-9BD21ABFA9BA}">
      <dgm:prSet/>
      <dgm:spPr/>
      <dgm:t>
        <a:bodyPr/>
        <a:lstStyle/>
        <a:p>
          <a:endParaRPr lang="en-US"/>
        </a:p>
      </dgm:t>
    </dgm:pt>
    <dgm:pt modelId="{9A32A28A-3C42-45E8-9F60-4687EEF617E1}" type="sibTrans" cxnId="{358DF478-775D-4008-960B-9BD21ABFA9BA}">
      <dgm:prSet/>
      <dgm:spPr/>
      <dgm:t>
        <a:bodyPr/>
        <a:lstStyle/>
        <a:p>
          <a:endParaRPr lang="en-US"/>
        </a:p>
      </dgm:t>
    </dgm:pt>
    <dgm:pt modelId="{5C2C9F90-F0C0-4E27-B43D-E898DA78C50F}">
      <dgm:prSet/>
      <dgm:spPr/>
      <dgm:t>
        <a:bodyPr/>
        <a:lstStyle/>
        <a:p>
          <a:r>
            <a:rPr lang="en-US" dirty="0"/>
            <a:t>When code can’t be changed</a:t>
          </a:r>
        </a:p>
      </dgm:t>
    </dgm:pt>
    <dgm:pt modelId="{E4C920C7-D45A-4967-9095-FC1C560A05E0}" type="parTrans" cxnId="{FD1C78F1-D62D-4CE0-9FBD-F273DCBC652C}">
      <dgm:prSet/>
      <dgm:spPr/>
      <dgm:t>
        <a:bodyPr/>
        <a:lstStyle/>
        <a:p>
          <a:endParaRPr lang="en-US"/>
        </a:p>
      </dgm:t>
    </dgm:pt>
    <dgm:pt modelId="{EA08FCC6-8E15-48B7-B646-D9F6A4E7EC1D}" type="sibTrans" cxnId="{FD1C78F1-D62D-4CE0-9FBD-F273DCBC652C}">
      <dgm:prSet/>
      <dgm:spPr/>
      <dgm:t>
        <a:bodyPr/>
        <a:lstStyle/>
        <a:p>
          <a:endParaRPr lang="en-US"/>
        </a:p>
      </dgm:t>
    </dgm:pt>
    <dgm:pt modelId="{D62252D8-E92F-4482-A625-D3A6ADA6E964}">
      <dgm:prSet/>
      <dgm:spPr/>
      <dgm:t>
        <a:bodyPr/>
        <a:lstStyle/>
        <a:p>
          <a:r>
            <a:rPr lang="en-US" dirty="0"/>
            <a:t>Override other hints/plan guides</a:t>
          </a:r>
        </a:p>
      </dgm:t>
    </dgm:pt>
    <dgm:pt modelId="{F4824501-D497-4AD1-B10A-3E33EA029076}" type="parTrans" cxnId="{BF63C479-66F2-43EB-8E78-E0BD40735DA6}">
      <dgm:prSet/>
      <dgm:spPr/>
      <dgm:t>
        <a:bodyPr/>
        <a:lstStyle/>
        <a:p>
          <a:endParaRPr lang="en-US"/>
        </a:p>
      </dgm:t>
    </dgm:pt>
    <dgm:pt modelId="{5711F51D-1E01-414F-82DC-03507C8A19B3}" type="sibTrans" cxnId="{BF63C479-66F2-43EB-8E78-E0BD40735DA6}">
      <dgm:prSet/>
      <dgm:spPr/>
      <dgm:t>
        <a:bodyPr/>
        <a:lstStyle/>
        <a:p>
          <a:endParaRPr lang="en-US"/>
        </a:p>
      </dgm:t>
    </dgm:pt>
    <dgm:pt modelId="{BE108B54-BA6C-423E-9BCA-A52C0284929D}">
      <dgm:prSet/>
      <dgm:spPr/>
      <dgm:t>
        <a:bodyPr/>
        <a:lstStyle/>
        <a:p>
          <a:pPr>
            <a:buFont typeface="Arial" panose="020B0604020202020204" pitchFamily="34" charset="0"/>
            <a:buChar char="•"/>
          </a:pPr>
          <a:r>
            <a:rPr lang="en-US" b="0" i="0" dirty="0"/>
            <a:t>Recompile a query on each execution.</a:t>
          </a:r>
          <a:endParaRPr lang="en-US" dirty="0"/>
        </a:p>
      </dgm:t>
    </dgm:pt>
    <dgm:pt modelId="{9C9F6815-B659-4AFE-8572-8B7CC5D17A97}" type="parTrans" cxnId="{830BDC55-8E1C-4A6F-9944-A25D5AE6ADAF}">
      <dgm:prSet/>
      <dgm:spPr/>
      <dgm:t>
        <a:bodyPr/>
        <a:lstStyle/>
        <a:p>
          <a:endParaRPr lang="en-US"/>
        </a:p>
      </dgm:t>
    </dgm:pt>
    <dgm:pt modelId="{76C574BF-505A-4BC0-83D5-B291312BC8A5}" type="sibTrans" cxnId="{830BDC55-8E1C-4A6F-9944-A25D5AE6ADAF}">
      <dgm:prSet/>
      <dgm:spPr/>
      <dgm:t>
        <a:bodyPr/>
        <a:lstStyle/>
        <a:p>
          <a:endParaRPr lang="en-US"/>
        </a:p>
      </dgm:t>
    </dgm:pt>
    <dgm:pt modelId="{ED3F0E66-5832-4603-A88F-C4EC2176B61E}">
      <dgm:prSet/>
      <dgm:spPr/>
      <dgm:t>
        <a:bodyPr/>
        <a:lstStyle/>
        <a:p>
          <a:pPr>
            <a:buFont typeface="Arial" panose="020B0604020202020204" pitchFamily="34" charset="0"/>
            <a:buChar char="•"/>
          </a:pPr>
          <a:r>
            <a:rPr lang="en-US" b="0" i="0"/>
            <a:t>Cap the memory grant size for a bulk insert operation.</a:t>
          </a:r>
        </a:p>
      </dgm:t>
    </dgm:pt>
    <dgm:pt modelId="{A94F280A-0D1E-4CD6-81B0-114B2C1E8D0E}" type="parTrans" cxnId="{B0858506-3738-4C00-A107-83ECE6CB4D9F}">
      <dgm:prSet/>
      <dgm:spPr/>
      <dgm:t>
        <a:bodyPr/>
        <a:lstStyle/>
        <a:p>
          <a:endParaRPr lang="en-US"/>
        </a:p>
      </dgm:t>
    </dgm:pt>
    <dgm:pt modelId="{71B94980-F2B6-4E96-A68E-736BA2CBEE9D}" type="sibTrans" cxnId="{B0858506-3738-4C00-A107-83ECE6CB4D9F}">
      <dgm:prSet/>
      <dgm:spPr/>
      <dgm:t>
        <a:bodyPr/>
        <a:lstStyle/>
        <a:p>
          <a:endParaRPr lang="en-US"/>
        </a:p>
      </dgm:t>
    </dgm:pt>
    <dgm:pt modelId="{488E4170-565F-49AB-82A8-3F2EFE910991}">
      <dgm:prSet/>
      <dgm:spPr/>
      <dgm:t>
        <a:bodyPr/>
        <a:lstStyle/>
        <a:p>
          <a:pPr>
            <a:buFont typeface="Arial" panose="020B0604020202020204" pitchFamily="34" charset="0"/>
            <a:buChar char="•"/>
          </a:pPr>
          <a:r>
            <a:rPr lang="en-US" b="0" i="0"/>
            <a:t>Limit the maximum degree of parallelism when updating statistics.</a:t>
          </a:r>
        </a:p>
      </dgm:t>
    </dgm:pt>
    <dgm:pt modelId="{1EEE9DE5-F32E-4E21-B600-E659C4B17426}" type="parTrans" cxnId="{2B1E5F4B-6393-4897-A00B-C8233E0DD6B5}">
      <dgm:prSet/>
      <dgm:spPr/>
      <dgm:t>
        <a:bodyPr/>
        <a:lstStyle/>
        <a:p>
          <a:endParaRPr lang="en-US"/>
        </a:p>
      </dgm:t>
    </dgm:pt>
    <dgm:pt modelId="{56D93114-1069-4419-A7A9-80A8ACA938A0}" type="sibTrans" cxnId="{2B1E5F4B-6393-4897-A00B-C8233E0DD6B5}">
      <dgm:prSet/>
      <dgm:spPr/>
      <dgm:t>
        <a:bodyPr/>
        <a:lstStyle/>
        <a:p>
          <a:endParaRPr lang="en-US"/>
        </a:p>
      </dgm:t>
    </dgm:pt>
    <dgm:pt modelId="{0A84A1D8-1E64-496D-82A3-DDBD5E614BBB}">
      <dgm:prSet/>
      <dgm:spPr/>
      <dgm:t>
        <a:bodyPr/>
        <a:lstStyle/>
        <a:p>
          <a:pPr>
            <a:buFont typeface="Arial" panose="020B0604020202020204" pitchFamily="34" charset="0"/>
            <a:buChar char="•"/>
          </a:pPr>
          <a:r>
            <a:rPr lang="en-US" b="0" i="0"/>
            <a:t>Use a Hash join instead of a Nested Loops join.</a:t>
          </a:r>
        </a:p>
      </dgm:t>
    </dgm:pt>
    <dgm:pt modelId="{DDA875A1-5B30-45ED-9341-92151E5817AB}" type="parTrans" cxnId="{EFF39E67-ED0B-42E3-81D8-D51F31D0EFAA}">
      <dgm:prSet/>
      <dgm:spPr/>
      <dgm:t>
        <a:bodyPr/>
        <a:lstStyle/>
        <a:p>
          <a:endParaRPr lang="en-US"/>
        </a:p>
      </dgm:t>
    </dgm:pt>
    <dgm:pt modelId="{29523D6B-8591-4562-B4DE-8AE625E83005}" type="sibTrans" cxnId="{EFF39E67-ED0B-42E3-81D8-D51F31D0EFAA}">
      <dgm:prSet/>
      <dgm:spPr/>
      <dgm:t>
        <a:bodyPr/>
        <a:lstStyle/>
        <a:p>
          <a:endParaRPr lang="en-US"/>
        </a:p>
      </dgm:t>
    </dgm:pt>
    <dgm:pt modelId="{E1B886A1-628E-491A-BC08-12F76666539A}">
      <dgm:prSet/>
      <dgm:spPr/>
      <dgm:t>
        <a:bodyPr/>
        <a:lstStyle/>
        <a:p>
          <a:pPr>
            <a:buFont typeface="Arial" panose="020B0604020202020204" pitchFamily="34" charset="0"/>
            <a:buChar char="•"/>
          </a:pPr>
          <a:r>
            <a:rPr lang="en-US" b="0" i="0" dirty="0"/>
            <a:t>Use </a:t>
          </a:r>
          <a:r>
            <a:rPr lang="en-US" b="0" i="0" dirty="0">
              <a:hlinkClick xmlns:r="http://schemas.openxmlformats.org/officeDocument/2006/relationships" r:id="rId1"/>
            </a:rPr>
            <a:t>compatibility level</a:t>
          </a:r>
          <a:r>
            <a:rPr lang="en-US" b="0" i="0" dirty="0"/>
            <a:t> 110 for a specific query while keeping everything else in the database at compatibility level 150.</a:t>
          </a:r>
        </a:p>
      </dgm:t>
    </dgm:pt>
    <dgm:pt modelId="{54FCD418-A6DA-4DD5-B140-8218509592B6}" type="parTrans" cxnId="{7ACFC439-912B-4F37-9E0E-B80973818AED}">
      <dgm:prSet/>
      <dgm:spPr/>
      <dgm:t>
        <a:bodyPr/>
        <a:lstStyle/>
        <a:p>
          <a:endParaRPr lang="en-US"/>
        </a:p>
      </dgm:t>
    </dgm:pt>
    <dgm:pt modelId="{C42B68B8-BAC4-4539-86DD-C5245DFDD000}" type="sibTrans" cxnId="{7ACFC439-912B-4F37-9E0E-B80973818AED}">
      <dgm:prSet/>
      <dgm:spPr/>
      <dgm:t>
        <a:bodyPr/>
        <a:lstStyle/>
        <a:p>
          <a:endParaRPr lang="en-US"/>
        </a:p>
      </dgm:t>
    </dgm:pt>
    <dgm:pt modelId="{EDDB5D67-AC2D-400D-9BCD-292B9E15D88E}" type="pres">
      <dgm:prSet presAssocID="{C80F00FC-6852-4B6C-9220-731CCC1727AA}" presName="linear" presStyleCnt="0">
        <dgm:presLayoutVars>
          <dgm:dir/>
          <dgm:animLvl val="lvl"/>
          <dgm:resizeHandles val="exact"/>
        </dgm:presLayoutVars>
      </dgm:prSet>
      <dgm:spPr/>
    </dgm:pt>
    <dgm:pt modelId="{E8B25991-4561-4844-944A-20FA42FEA6AB}" type="pres">
      <dgm:prSet presAssocID="{CAB7AD89-900C-45A8-8FD3-C32B43C4D5B7}" presName="parentLin" presStyleCnt="0"/>
      <dgm:spPr/>
    </dgm:pt>
    <dgm:pt modelId="{8E458919-9CC2-47DB-92D5-A14FDC6BCF5F}" type="pres">
      <dgm:prSet presAssocID="{CAB7AD89-900C-45A8-8FD3-C32B43C4D5B7}" presName="parentLeftMargin" presStyleLbl="node1" presStyleIdx="0" presStyleCnt="1"/>
      <dgm:spPr/>
    </dgm:pt>
    <dgm:pt modelId="{FAF1D23B-AB2A-49DD-98FA-097F55A966C8}" type="pres">
      <dgm:prSet presAssocID="{CAB7AD89-900C-45A8-8FD3-C32B43C4D5B7}" presName="parentText" presStyleLbl="node1" presStyleIdx="0" presStyleCnt="1">
        <dgm:presLayoutVars>
          <dgm:chMax val="0"/>
          <dgm:bulletEnabled val="1"/>
        </dgm:presLayoutVars>
      </dgm:prSet>
      <dgm:spPr/>
    </dgm:pt>
    <dgm:pt modelId="{992686CB-AF0B-4B55-84E3-9BA41B9D7AC3}" type="pres">
      <dgm:prSet presAssocID="{CAB7AD89-900C-45A8-8FD3-C32B43C4D5B7}" presName="negativeSpace" presStyleCnt="0"/>
      <dgm:spPr/>
    </dgm:pt>
    <dgm:pt modelId="{E74F34F9-6CB3-4FEC-BB5A-6710F3F2402C}" type="pres">
      <dgm:prSet presAssocID="{CAB7AD89-900C-45A8-8FD3-C32B43C4D5B7}" presName="childText" presStyleLbl="conFgAcc1" presStyleIdx="0" presStyleCnt="1">
        <dgm:presLayoutVars>
          <dgm:bulletEnabled val="1"/>
        </dgm:presLayoutVars>
      </dgm:prSet>
      <dgm:spPr/>
    </dgm:pt>
  </dgm:ptLst>
  <dgm:cxnLst>
    <dgm:cxn modelId="{B0858506-3738-4C00-A107-83ECE6CB4D9F}" srcId="{CAB7AD89-900C-45A8-8FD3-C32B43C4D5B7}" destId="{ED3F0E66-5832-4603-A88F-C4EC2176B61E}" srcOrd="3" destOrd="0" parTransId="{A94F280A-0D1E-4CD6-81B0-114B2C1E8D0E}" sibTransId="{71B94980-F2B6-4E96-A68E-736BA2CBEE9D}"/>
    <dgm:cxn modelId="{547F8B27-D363-466C-AA64-D2E1E0B24A9C}" type="presOf" srcId="{C80F00FC-6852-4B6C-9220-731CCC1727AA}" destId="{EDDB5D67-AC2D-400D-9BCD-292B9E15D88E}" srcOrd="0" destOrd="0" presId="urn:microsoft.com/office/officeart/2005/8/layout/list1"/>
    <dgm:cxn modelId="{4E123629-094F-4D0B-860A-E072696EB97A}" type="presOf" srcId="{CAB7AD89-900C-45A8-8FD3-C32B43C4D5B7}" destId="{8E458919-9CC2-47DB-92D5-A14FDC6BCF5F}" srcOrd="0" destOrd="0" presId="urn:microsoft.com/office/officeart/2005/8/layout/list1"/>
    <dgm:cxn modelId="{7ACFC439-912B-4F37-9E0E-B80973818AED}" srcId="{CAB7AD89-900C-45A8-8FD3-C32B43C4D5B7}" destId="{E1B886A1-628E-491A-BC08-12F76666539A}" srcOrd="6" destOrd="0" parTransId="{54FCD418-A6DA-4DD5-B140-8218509592B6}" sibTransId="{C42B68B8-BAC4-4539-86DD-C5245DFDD000}"/>
    <dgm:cxn modelId="{EFF39E67-ED0B-42E3-81D8-D51F31D0EFAA}" srcId="{CAB7AD89-900C-45A8-8FD3-C32B43C4D5B7}" destId="{0A84A1D8-1E64-496D-82A3-DDBD5E614BBB}" srcOrd="5" destOrd="0" parTransId="{DDA875A1-5B30-45ED-9341-92151E5817AB}" sibTransId="{29523D6B-8591-4562-B4DE-8AE625E83005}"/>
    <dgm:cxn modelId="{2B1E5F4B-6393-4897-A00B-C8233E0DD6B5}" srcId="{CAB7AD89-900C-45A8-8FD3-C32B43C4D5B7}" destId="{488E4170-565F-49AB-82A8-3F2EFE910991}" srcOrd="4" destOrd="0" parTransId="{1EEE9DE5-F32E-4E21-B600-E659C4B17426}" sibTransId="{56D93114-1069-4419-A7A9-80A8ACA938A0}"/>
    <dgm:cxn modelId="{830BDC55-8E1C-4A6F-9944-A25D5AE6ADAF}" srcId="{CAB7AD89-900C-45A8-8FD3-C32B43C4D5B7}" destId="{BE108B54-BA6C-423E-9BCA-A52C0284929D}" srcOrd="2" destOrd="0" parTransId="{9C9F6815-B659-4AFE-8572-8B7CC5D17A97}" sibTransId="{76C574BF-505A-4BC0-83D5-B291312BC8A5}"/>
    <dgm:cxn modelId="{358DF478-775D-4008-960B-9BD21ABFA9BA}" srcId="{C80F00FC-6852-4B6C-9220-731CCC1727AA}" destId="{CAB7AD89-900C-45A8-8FD3-C32B43C4D5B7}" srcOrd="0" destOrd="0" parTransId="{792C84A6-9D5B-49EE-BC4E-069EED6BC49A}" sibTransId="{9A32A28A-3C42-45E8-9F60-4687EEF617E1}"/>
    <dgm:cxn modelId="{BF63C479-66F2-43EB-8E78-E0BD40735DA6}" srcId="{CAB7AD89-900C-45A8-8FD3-C32B43C4D5B7}" destId="{D62252D8-E92F-4482-A625-D3A6ADA6E964}" srcOrd="1" destOrd="0" parTransId="{F4824501-D497-4AD1-B10A-3E33EA029076}" sibTransId="{5711F51D-1E01-414F-82DC-03507C8A19B3}"/>
    <dgm:cxn modelId="{55D71188-DAFD-4E28-B258-1D36B69D98C3}" type="presOf" srcId="{D62252D8-E92F-4482-A625-D3A6ADA6E964}" destId="{E74F34F9-6CB3-4FEC-BB5A-6710F3F2402C}" srcOrd="0" destOrd="1" presId="urn:microsoft.com/office/officeart/2005/8/layout/list1"/>
    <dgm:cxn modelId="{6F7B00A4-EE89-4937-8C2A-CC104857C96E}" type="presOf" srcId="{5C2C9F90-F0C0-4E27-B43D-E898DA78C50F}" destId="{E74F34F9-6CB3-4FEC-BB5A-6710F3F2402C}" srcOrd="0" destOrd="0" presId="urn:microsoft.com/office/officeart/2005/8/layout/list1"/>
    <dgm:cxn modelId="{91C249AE-56B6-4AEB-8945-83CC3D0F0E04}" type="presOf" srcId="{CAB7AD89-900C-45A8-8FD3-C32B43C4D5B7}" destId="{FAF1D23B-AB2A-49DD-98FA-097F55A966C8}" srcOrd="1" destOrd="0" presId="urn:microsoft.com/office/officeart/2005/8/layout/list1"/>
    <dgm:cxn modelId="{C4FDBCC4-7DF6-405D-BC09-A71A47526887}" type="presOf" srcId="{E1B886A1-628E-491A-BC08-12F76666539A}" destId="{E74F34F9-6CB3-4FEC-BB5A-6710F3F2402C}" srcOrd="0" destOrd="6" presId="urn:microsoft.com/office/officeart/2005/8/layout/list1"/>
    <dgm:cxn modelId="{BBC65BDE-B012-4E64-B8B7-E9C3F640884F}" type="presOf" srcId="{BE108B54-BA6C-423E-9BCA-A52C0284929D}" destId="{E74F34F9-6CB3-4FEC-BB5A-6710F3F2402C}" srcOrd="0" destOrd="2" presId="urn:microsoft.com/office/officeart/2005/8/layout/list1"/>
    <dgm:cxn modelId="{BD7346E6-D9A0-40CB-8192-57309E63A84E}" type="presOf" srcId="{0A84A1D8-1E64-496D-82A3-DDBD5E614BBB}" destId="{E74F34F9-6CB3-4FEC-BB5A-6710F3F2402C}" srcOrd="0" destOrd="5" presId="urn:microsoft.com/office/officeart/2005/8/layout/list1"/>
    <dgm:cxn modelId="{FD1C78F1-D62D-4CE0-9FBD-F273DCBC652C}" srcId="{CAB7AD89-900C-45A8-8FD3-C32B43C4D5B7}" destId="{5C2C9F90-F0C0-4E27-B43D-E898DA78C50F}" srcOrd="0" destOrd="0" parTransId="{E4C920C7-D45A-4967-9095-FC1C560A05E0}" sibTransId="{EA08FCC6-8E15-48B7-B646-D9F6A4E7EC1D}"/>
    <dgm:cxn modelId="{0C2B04F5-4991-4E49-9F32-1A6B184160C4}" type="presOf" srcId="{ED3F0E66-5832-4603-A88F-C4EC2176B61E}" destId="{E74F34F9-6CB3-4FEC-BB5A-6710F3F2402C}" srcOrd="0" destOrd="3" presId="urn:microsoft.com/office/officeart/2005/8/layout/list1"/>
    <dgm:cxn modelId="{1B3428F6-BBD0-47E7-B58A-B8AEA240E08A}" type="presOf" srcId="{488E4170-565F-49AB-82A8-3F2EFE910991}" destId="{E74F34F9-6CB3-4FEC-BB5A-6710F3F2402C}" srcOrd="0" destOrd="4" presId="urn:microsoft.com/office/officeart/2005/8/layout/list1"/>
    <dgm:cxn modelId="{806AA62F-6525-4721-91DE-638DC0759FD7}" type="presParOf" srcId="{EDDB5D67-AC2D-400D-9BCD-292B9E15D88E}" destId="{E8B25991-4561-4844-944A-20FA42FEA6AB}" srcOrd="0" destOrd="0" presId="urn:microsoft.com/office/officeart/2005/8/layout/list1"/>
    <dgm:cxn modelId="{49B07F3F-F193-4AAE-B52F-877FFCC68EB0}" type="presParOf" srcId="{E8B25991-4561-4844-944A-20FA42FEA6AB}" destId="{8E458919-9CC2-47DB-92D5-A14FDC6BCF5F}" srcOrd="0" destOrd="0" presId="urn:microsoft.com/office/officeart/2005/8/layout/list1"/>
    <dgm:cxn modelId="{5E89B811-9CED-442E-898B-3EB53F3E45F0}" type="presParOf" srcId="{E8B25991-4561-4844-944A-20FA42FEA6AB}" destId="{FAF1D23B-AB2A-49DD-98FA-097F55A966C8}" srcOrd="1" destOrd="0" presId="urn:microsoft.com/office/officeart/2005/8/layout/list1"/>
    <dgm:cxn modelId="{02AC2D79-29C8-442D-905D-BFB4A0C261AC}" type="presParOf" srcId="{EDDB5D67-AC2D-400D-9BCD-292B9E15D88E}" destId="{992686CB-AF0B-4B55-84E3-9BA41B9D7AC3}" srcOrd="1" destOrd="0" presId="urn:microsoft.com/office/officeart/2005/8/layout/list1"/>
    <dgm:cxn modelId="{95461CDC-BAC7-4812-B4F2-505E495DF436}" type="presParOf" srcId="{EDDB5D67-AC2D-400D-9BCD-292B9E15D88E}" destId="{E74F34F9-6CB3-4FEC-BB5A-6710F3F2402C}"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C64D99-DC14-45ED-ACD8-196ACB7487FF}"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D361EF34-AA93-443D-93E5-3670F8F963E8}">
      <dgm:prSet custT="1"/>
      <dgm:spPr/>
      <dgm:t>
        <a:bodyPr/>
        <a:lstStyle/>
        <a:p>
          <a:pPr algn="l"/>
          <a:r>
            <a:rPr lang="en-US" sz="2600" b="1" baseline="0">
              <a:latin typeface="Segoe UI" panose="020B0502040204020203" pitchFamily="34" charset="0"/>
            </a:rPr>
            <a:t>Object plans:</a:t>
          </a:r>
          <a:endParaRPr lang="en-US" sz="2600" dirty="0">
            <a:latin typeface="Segoe UI" panose="020B0502040204020203" pitchFamily="34" charset="0"/>
          </a:endParaRPr>
        </a:p>
      </dgm:t>
    </dgm:pt>
    <dgm:pt modelId="{570F5F94-0C1E-4AE6-A04F-FD9228AAE894}" type="parTrans" cxnId="{76408C05-28D1-4B98-8455-EDACB4378D07}">
      <dgm:prSet/>
      <dgm:spPr/>
      <dgm:t>
        <a:bodyPr/>
        <a:lstStyle/>
        <a:p>
          <a:endParaRPr lang="en-US"/>
        </a:p>
      </dgm:t>
    </dgm:pt>
    <dgm:pt modelId="{AC592F00-D24D-4360-8C51-291AD1CD55DB}" type="sibTrans" cxnId="{76408C05-28D1-4B98-8455-EDACB4378D07}">
      <dgm:prSet/>
      <dgm:spPr/>
      <dgm:t>
        <a:bodyPr/>
        <a:lstStyle/>
        <a:p>
          <a:endParaRPr lang="en-US"/>
        </a:p>
      </dgm:t>
    </dgm:pt>
    <dgm:pt modelId="{21D36665-36B8-4E1A-B761-7A539DDEF4BF}">
      <dgm:prSet custT="1"/>
      <dgm:spPr/>
      <dgm:t>
        <a:bodyPr/>
        <a:lstStyle/>
        <a:p>
          <a:pPr algn="l"/>
          <a:r>
            <a:rPr lang="en-US" sz="2600" b="1" baseline="0">
              <a:latin typeface="Segoe UI" panose="020B0502040204020203" pitchFamily="34" charset="0"/>
            </a:rPr>
            <a:t>SQL Plans</a:t>
          </a:r>
          <a:r>
            <a:rPr lang="en-US" sz="2600" baseline="0">
              <a:latin typeface="Segoe UI" panose="020B0502040204020203" pitchFamily="34" charset="0"/>
            </a:rPr>
            <a:t>:</a:t>
          </a:r>
          <a:endParaRPr lang="en-US" sz="2600" dirty="0">
            <a:latin typeface="Segoe UI" panose="020B0502040204020203" pitchFamily="34" charset="0"/>
          </a:endParaRPr>
        </a:p>
      </dgm:t>
    </dgm:pt>
    <dgm:pt modelId="{DC8C7D86-B735-4697-B630-BEA11ABE4424}" type="parTrans" cxnId="{218B716A-C104-4D40-8713-EFE06A6BC2F8}">
      <dgm:prSet/>
      <dgm:spPr/>
      <dgm:t>
        <a:bodyPr/>
        <a:lstStyle/>
        <a:p>
          <a:endParaRPr lang="en-US"/>
        </a:p>
      </dgm:t>
    </dgm:pt>
    <dgm:pt modelId="{9D901686-5DA0-4AAD-8CAD-302CDBB18971}" type="sibTrans" cxnId="{218B716A-C104-4D40-8713-EFE06A6BC2F8}">
      <dgm:prSet/>
      <dgm:spPr/>
      <dgm:t>
        <a:bodyPr/>
        <a:lstStyle/>
        <a:p>
          <a:endParaRPr lang="en-US"/>
        </a:p>
      </dgm:t>
    </dgm:pt>
    <dgm:pt modelId="{50A13C86-4901-482A-9B40-DB6A59B6A446}">
      <dgm:prSet custT="1"/>
      <dgm:spPr/>
      <dgm:t>
        <a:bodyPr/>
        <a:lstStyle/>
        <a:p>
          <a:pPr algn="l"/>
          <a:r>
            <a:rPr lang="en-US" sz="2600" b="1" baseline="0">
              <a:latin typeface="Segoe UI" panose="020B0502040204020203" pitchFamily="34" charset="0"/>
            </a:rPr>
            <a:t>Other</a:t>
          </a:r>
          <a:r>
            <a:rPr lang="en-US" sz="2600" baseline="0">
              <a:latin typeface="Segoe UI" panose="020B0502040204020203" pitchFamily="34" charset="0"/>
            </a:rPr>
            <a:t>:</a:t>
          </a:r>
          <a:endParaRPr lang="en-US" sz="2600" dirty="0">
            <a:latin typeface="Segoe UI" panose="020B0502040204020203" pitchFamily="34" charset="0"/>
          </a:endParaRPr>
        </a:p>
      </dgm:t>
    </dgm:pt>
    <dgm:pt modelId="{6BD1D617-3F2A-4BB0-A0B6-55B22E7AD3C8}" type="parTrans" cxnId="{514ACDA8-4B7A-41C3-A60C-1E3475D7CB14}">
      <dgm:prSet/>
      <dgm:spPr/>
      <dgm:t>
        <a:bodyPr/>
        <a:lstStyle/>
        <a:p>
          <a:endParaRPr lang="en-US"/>
        </a:p>
      </dgm:t>
    </dgm:pt>
    <dgm:pt modelId="{6975A828-1E1C-4BAE-A94B-F6C6281A7655}" type="sibTrans" cxnId="{514ACDA8-4B7A-41C3-A60C-1E3475D7CB14}">
      <dgm:prSet/>
      <dgm:spPr/>
      <dgm:t>
        <a:bodyPr/>
        <a:lstStyle/>
        <a:p>
          <a:endParaRPr lang="en-US"/>
        </a:p>
      </dgm:t>
    </dgm:pt>
    <dgm:pt modelId="{EEBBD178-21FD-4E50-8B07-1CB3FB93D9B9}">
      <dgm:prSet custT="1"/>
      <dgm:spPr/>
      <dgm:t>
        <a:bodyPr/>
        <a:lstStyle/>
        <a:p>
          <a:pPr algn="l"/>
          <a:r>
            <a:rPr lang="en-US" sz="2600" b="1" baseline="0">
              <a:latin typeface="Segoe UI" panose="020B0502040204020203" pitchFamily="34" charset="0"/>
            </a:rPr>
            <a:t>Granularity:</a:t>
          </a:r>
          <a:endParaRPr lang="en-US" sz="2600" dirty="0">
            <a:latin typeface="Segoe UI" panose="020B0502040204020203" pitchFamily="34" charset="0"/>
          </a:endParaRPr>
        </a:p>
      </dgm:t>
    </dgm:pt>
    <dgm:pt modelId="{8D0E2266-D0A3-419E-993A-955C1E399A5C}" type="parTrans" cxnId="{E9B0EC74-DA2B-4452-8966-DA1CE4C81CFC}">
      <dgm:prSet/>
      <dgm:spPr/>
      <dgm:t>
        <a:bodyPr/>
        <a:lstStyle/>
        <a:p>
          <a:endParaRPr lang="en-US"/>
        </a:p>
      </dgm:t>
    </dgm:pt>
    <dgm:pt modelId="{9080C3CD-2383-4B0F-B7B7-8EA04BEB6E8C}" type="sibTrans" cxnId="{E9B0EC74-DA2B-4452-8966-DA1CE4C81CFC}">
      <dgm:prSet/>
      <dgm:spPr/>
      <dgm:t>
        <a:bodyPr/>
        <a:lstStyle/>
        <a:p>
          <a:endParaRPr lang="en-US"/>
        </a:p>
      </dgm:t>
    </dgm:pt>
    <dgm:pt modelId="{47A30BBB-20B9-4FAE-A1AB-F85589858764}">
      <dgm:prSet custT="1"/>
      <dgm:spPr/>
      <dgm:t>
        <a:bodyPr/>
        <a:lstStyle/>
        <a:p>
          <a:pPr algn="l"/>
          <a:r>
            <a:rPr lang="en-US" sz="2000" baseline="0">
              <a:latin typeface="Segoe UI" panose="020B0502040204020203" pitchFamily="34" charset="0"/>
            </a:rPr>
            <a:t>Stored procedures, functions, triggers</a:t>
          </a:r>
          <a:endParaRPr lang="en-US" sz="2000" dirty="0">
            <a:latin typeface="Segoe UI" panose="020B0502040204020203" pitchFamily="34" charset="0"/>
          </a:endParaRPr>
        </a:p>
      </dgm:t>
    </dgm:pt>
    <dgm:pt modelId="{59C67F32-D4F3-4939-81D2-3DC0F885F0F0}" type="parTrans" cxnId="{5CA208F1-8B73-40F3-8425-C14F286827FE}">
      <dgm:prSet/>
      <dgm:spPr/>
      <dgm:t>
        <a:bodyPr/>
        <a:lstStyle/>
        <a:p>
          <a:endParaRPr lang="en-US"/>
        </a:p>
      </dgm:t>
    </dgm:pt>
    <dgm:pt modelId="{E33C7D65-588F-4BD5-B7D6-1CFFB4401037}" type="sibTrans" cxnId="{5CA208F1-8B73-40F3-8425-C14F286827FE}">
      <dgm:prSet/>
      <dgm:spPr/>
      <dgm:t>
        <a:bodyPr/>
        <a:lstStyle/>
        <a:p>
          <a:endParaRPr lang="en-US"/>
        </a:p>
      </dgm:t>
    </dgm:pt>
    <dgm:pt modelId="{9DFC4E6B-8749-4799-80B9-97A670602A70}">
      <dgm:prSet custT="1"/>
      <dgm:spPr/>
      <dgm:t>
        <a:bodyPr/>
        <a:lstStyle/>
        <a:p>
          <a:pPr algn="l"/>
          <a:r>
            <a:rPr lang="en-US" sz="2000" baseline="0" dirty="0">
              <a:latin typeface="Segoe UI" panose="020B0502040204020203" pitchFamily="34" charset="0"/>
            </a:rPr>
            <a:t>Prepared plans and </a:t>
          </a:r>
          <a:r>
            <a:rPr lang="en-US" sz="2000" i="1" baseline="0" dirty="0">
              <a:latin typeface="Segoe UI" panose="020B0502040204020203" pitchFamily="34" charset="0"/>
            </a:rPr>
            <a:t>ad hoc </a:t>
          </a:r>
          <a:r>
            <a:rPr lang="en-US" sz="2000" baseline="0" dirty="0">
              <a:latin typeface="Segoe UI" panose="020B0502040204020203" pitchFamily="34" charset="0"/>
            </a:rPr>
            <a:t>plans</a:t>
          </a:r>
          <a:endParaRPr lang="en-US" sz="2000" dirty="0">
            <a:latin typeface="Segoe UI" panose="020B0502040204020203" pitchFamily="34" charset="0"/>
          </a:endParaRPr>
        </a:p>
      </dgm:t>
    </dgm:pt>
    <dgm:pt modelId="{1F5A76A6-EAC9-4D77-9F3A-B2902BA21A81}" type="parTrans" cxnId="{2FAB52C3-F0F6-4101-AB9A-E97E1AC4A7D7}">
      <dgm:prSet/>
      <dgm:spPr/>
      <dgm:t>
        <a:bodyPr/>
        <a:lstStyle/>
        <a:p>
          <a:endParaRPr lang="en-US"/>
        </a:p>
      </dgm:t>
    </dgm:pt>
    <dgm:pt modelId="{848FD0DC-A43C-43A0-BB61-251E98EA30E8}" type="sibTrans" cxnId="{2FAB52C3-F0F6-4101-AB9A-E97E1AC4A7D7}">
      <dgm:prSet/>
      <dgm:spPr/>
      <dgm:t>
        <a:bodyPr/>
        <a:lstStyle/>
        <a:p>
          <a:endParaRPr lang="en-US"/>
        </a:p>
      </dgm:t>
    </dgm:pt>
    <dgm:pt modelId="{22AE0E22-810D-4537-9DC9-204A077B27C7}">
      <dgm:prSet custT="1"/>
      <dgm:spPr/>
      <dgm:t>
        <a:bodyPr/>
        <a:lstStyle/>
        <a:p>
          <a:pPr algn="l"/>
          <a:r>
            <a:rPr lang="en-US" sz="2000" baseline="0">
              <a:latin typeface="Segoe UI" panose="020B0502040204020203" pitchFamily="34" charset="0"/>
            </a:rPr>
            <a:t>Bound trees and extended stored procedure references</a:t>
          </a:r>
          <a:endParaRPr lang="en-US" sz="2000" dirty="0">
            <a:latin typeface="Segoe UI" panose="020B0502040204020203" pitchFamily="34" charset="0"/>
          </a:endParaRPr>
        </a:p>
      </dgm:t>
    </dgm:pt>
    <dgm:pt modelId="{3353E77B-1877-4B97-8090-744BAF40E03E}" type="parTrans" cxnId="{1FF2E3A7-FC91-4125-9E6B-188E16281F9A}">
      <dgm:prSet/>
      <dgm:spPr/>
      <dgm:t>
        <a:bodyPr/>
        <a:lstStyle/>
        <a:p>
          <a:endParaRPr lang="en-US"/>
        </a:p>
      </dgm:t>
    </dgm:pt>
    <dgm:pt modelId="{F6E67913-641A-4EF4-B8BA-A94AA78B0E3B}" type="sibTrans" cxnId="{1FF2E3A7-FC91-4125-9E6B-188E16281F9A}">
      <dgm:prSet/>
      <dgm:spPr/>
      <dgm:t>
        <a:bodyPr/>
        <a:lstStyle/>
        <a:p>
          <a:endParaRPr lang="en-US"/>
        </a:p>
      </dgm:t>
    </dgm:pt>
    <dgm:pt modelId="{FE0F5B0F-373C-4CF8-9CCA-D478C784C783}">
      <dgm:prSet custT="1"/>
      <dgm:spPr/>
      <dgm:t>
        <a:bodyPr/>
        <a:lstStyle/>
        <a:p>
          <a:pPr algn="l"/>
          <a:r>
            <a:rPr lang="en-US" sz="2000" baseline="0">
              <a:latin typeface="Segoe UI" panose="020B0502040204020203" pitchFamily="34" charset="0"/>
            </a:rPr>
            <a:t>Execution plans are per-statement (not object).</a:t>
          </a:r>
          <a:endParaRPr lang="en-US" sz="2000" dirty="0">
            <a:latin typeface="Segoe UI" panose="020B0502040204020203" pitchFamily="34" charset="0"/>
          </a:endParaRPr>
        </a:p>
      </dgm:t>
    </dgm:pt>
    <dgm:pt modelId="{C73BE31D-97FF-46F7-A216-799CDAA80A94}" type="parTrans" cxnId="{F589D49F-EDCA-4599-A686-C767C26135F0}">
      <dgm:prSet/>
      <dgm:spPr/>
      <dgm:t>
        <a:bodyPr/>
        <a:lstStyle/>
        <a:p>
          <a:endParaRPr lang="en-US"/>
        </a:p>
      </dgm:t>
    </dgm:pt>
    <dgm:pt modelId="{D2249C16-9C7B-48CC-A454-214926C0F6CE}" type="sibTrans" cxnId="{F589D49F-EDCA-4599-A686-C767C26135F0}">
      <dgm:prSet/>
      <dgm:spPr/>
      <dgm:t>
        <a:bodyPr/>
        <a:lstStyle/>
        <a:p>
          <a:endParaRPr lang="en-US"/>
        </a:p>
      </dgm:t>
    </dgm:pt>
    <dgm:pt modelId="{8A7A6A27-FE79-4F0C-843D-B5F592A8A477}">
      <dgm:prSet custT="1"/>
      <dgm:spPr/>
      <dgm:t>
        <a:bodyPr/>
        <a:lstStyle/>
        <a:p>
          <a:pPr algn="l"/>
          <a:r>
            <a:rPr lang="en-US" sz="2600" b="1" baseline="0">
              <a:latin typeface="Segoe UI" panose="020B0502040204020203" pitchFamily="34" charset="0"/>
            </a:rPr>
            <a:t>Plans per Statement:</a:t>
          </a:r>
          <a:endParaRPr lang="en-US" sz="2600" dirty="0">
            <a:latin typeface="Segoe UI" panose="020B0502040204020203" pitchFamily="34" charset="0"/>
          </a:endParaRPr>
        </a:p>
      </dgm:t>
    </dgm:pt>
    <dgm:pt modelId="{CF5B64EC-BDDB-4DD1-9730-499B8293E28A}" type="parTrans" cxnId="{4517FB87-788A-4A7B-AAC2-0F895DC19E38}">
      <dgm:prSet/>
      <dgm:spPr/>
      <dgm:t>
        <a:bodyPr/>
        <a:lstStyle/>
        <a:p>
          <a:endParaRPr lang="en-US"/>
        </a:p>
      </dgm:t>
    </dgm:pt>
    <dgm:pt modelId="{F400E0F8-0203-47F7-81ED-E11741A8082F}" type="sibTrans" cxnId="{4517FB87-788A-4A7B-AAC2-0F895DC19E38}">
      <dgm:prSet/>
      <dgm:spPr/>
      <dgm:t>
        <a:bodyPr/>
        <a:lstStyle/>
        <a:p>
          <a:endParaRPr lang="en-US"/>
        </a:p>
      </dgm:t>
    </dgm:pt>
    <dgm:pt modelId="{53478036-2581-433E-AA35-2BF428DFADB0}">
      <dgm:prSet custT="1"/>
      <dgm:spPr/>
      <dgm:t>
        <a:bodyPr/>
        <a:lstStyle/>
        <a:p>
          <a:pPr algn="l"/>
          <a:r>
            <a:rPr lang="en-US" sz="2000" baseline="0">
              <a:latin typeface="Segoe UI" panose="020B0502040204020203" pitchFamily="34" charset="0"/>
            </a:rPr>
            <a:t>Multiple plans for a single statement may exist if differing execution contexts were used or if a parallel plan was generated.</a:t>
          </a:r>
          <a:endParaRPr lang="en-US" sz="2000" dirty="0">
            <a:latin typeface="Segoe UI" panose="020B0502040204020203" pitchFamily="34" charset="0"/>
          </a:endParaRPr>
        </a:p>
      </dgm:t>
    </dgm:pt>
    <dgm:pt modelId="{E2AA1E5E-E617-4257-8464-32F2B36FA1F8}" type="parTrans" cxnId="{86B63063-9012-46CA-AD91-3D0330C3DE5A}">
      <dgm:prSet/>
      <dgm:spPr/>
      <dgm:t>
        <a:bodyPr/>
        <a:lstStyle/>
        <a:p>
          <a:endParaRPr lang="en-US"/>
        </a:p>
      </dgm:t>
    </dgm:pt>
    <dgm:pt modelId="{5C52A99D-B818-4CDF-915F-72B03D6E8B5F}" type="sibTrans" cxnId="{86B63063-9012-46CA-AD91-3D0330C3DE5A}">
      <dgm:prSet/>
      <dgm:spPr/>
      <dgm:t>
        <a:bodyPr/>
        <a:lstStyle/>
        <a:p>
          <a:endParaRPr lang="en-US"/>
        </a:p>
      </dgm:t>
    </dgm:pt>
    <dgm:pt modelId="{2D15387B-60F0-4B92-B526-ABE4A7FCF3AC}" type="pres">
      <dgm:prSet presAssocID="{BDC64D99-DC14-45ED-ACD8-196ACB7487FF}" presName="linear" presStyleCnt="0">
        <dgm:presLayoutVars>
          <dgm:dir/>
          <dgm:animLvl val="lvl"/>
          <dgm:resizeHandles val="exact"/>
        </dgm:presLayoutVars>
      </dgm:prSet>
      <dgm:spPr/>
    </dgm:pt>
    <dgm:pt modelId="{42AA6942-59E9-4B7C-8196-78B4CF1C3FD2}" type="pres">
      <dgm:prSet presAssocID="{D361EF34-AA93-443D-93E5-3670F8F963E8}" presName="parentLin" presStyleCnt="0"/>
      <dgm:spPr/>
    </dgm:pt>
    <dgm:pt modelId="{8215F29C-9E65-40E6-97D2-CDE68BBC8219}" type="pres">
      <dgm:prSet presAssocID="{D361EF34-AA93-443D-93E5-3670F8F963E8}" presName="parentLeftMargin" presStyleLbl="node1" presStyleIdx="0" presStyleCnt="5"/>
      <dgm:spPr/>
    </dgm:pt>
    <dgm:pt modelId="{4D8FEBEF-41A5-4840-8C33-571197C816C3}" type="pres">
      <dgm:prSet presAssocID="{D361EF34-AA93-443D-93E5-3670F8F963E8}" presName="parentText" presStyleLbl="node1" presStyleIdx="0" presStyleCnt="5">
        <dgm:presLayoutVars>
          <dgm:chMax val="0"/>
          <dgm:bulletEnabled val="1"/>
        </dgm:presLayoutVars>
      </dgm:prSet>
      <dgm:spPr/>
    </dgm:pt>
    <dgm:pt modelId="{3B9CC9BC-B131-47D4-A08C-94B9D88F690F}" type="pres">
      <dgm:prSet presAssocID="{D361EF34-AA93-443D-93E5-3670F8F963E8}" presName="negativeSpace" presStyleCnt="0"/>
      <dgm:spPr/>
    </dgm:pt>
    <dgm:pt modelId="{DC59FE26-4822-4DF1-A679-9872F5820011}" type="pres">
      <dgm:prSet presAssocID="{D361EF34-AA93-443D-93E5-3670F8F963E8}" presName="childText" presStyleLbl="conFgAcc1" presStyleIdx="0" presStyleCnt="5">
        <dgm:presLayoutVars>
          <dgm:bulletEnabled val="1"/>
        </dgm:presLayoutVars>
      </dgm:prSet>
      <dgm:spPr/>
    </dgm:pt>
    <dgm:pt modelId="{732681FC-18CE-46EF-B3D2-4F60C0D89729}" type="pres">
      <dgm:prSet presAssocID="{AC592F00-D24D-4360-8C51-291AD1CD55DB}" presName="spaceBetweenRectangles" presStyleCnt="0"/>
      <dgm:spPr/>
    </dgm:pt>
    <dgm:pt modelId="{747DB919-7D5B-48D1-931C-A452426A4C2E}" type="pres">
      <dgm:prSet presAssocID="{21D36665-36B8-4E1A-B761-7A539DDEF4BF}" presName="parentLin" presStyleCnt="0"/>
      <dgm:spPr/>
    </dgm:pt>
    <dgm:pt modelId="{37B7C034-C5EC-46A0-8F7A-DC7F73D076BF}" type="pres">
      <dgm:prSet presAssocID="{21D36665-36B8-4E1A-B761-7A539DDEF4BF}" presName="parentLeftMargin" presStyleLbl="node1" presStyleIdx="0" presStyleCnt="5"/>
      <dgm:spPr/>
    </dgm:pt>
    <dgm:pt modelId="{65C37683-9B5E-499D-99DF-94C70AA7B054}" type="pres">
      <dgm:prSet presAssocID="{21D36665-36B8-4E1A-B761-7A539DDEF4BF}" presName="parentText" presStyleLbl="node1" presStyleIdx="1" presStyleCnt="5">
        <dgm:presLayoutVars>
          <dgm:chMax val="0"/>
          <dgm:bulletEnabled val="1"/>
        </dgm:presLayoutVars>
      </dgm:prSet>
      <dgm:spPr/>
    </dgm:pt>
    <dgm:pt modelId="{12B9410A-14CE-41F0-8FB0-DFA75A03516D}" type="pres">
      <dgm:prSet presAssocID="{21D36665-36B8-4E1A-B761-7A539DDEF4BF}" presName="negativeSpace" presStyleCnt="0"/>
      <dgm:spPr/>
    </dgm:pt>
    <dgm:pt modelId="{3EFC49D7-8BB1-43E9-91AA-D13C104FA8DF}" type="pres">
      <dgm:prSet presAssocID="{21D36665-36B8-4E1A-B761-7A539DDEF4BF}" presName="childText" presStyleLbl="conFgAcc1" presStyleIdx="1" presStyleCnt="5">
        <dgm:presLayoutVars>
          <dgm:bulletEnabled val="1"/>
        </dgm:presLayoutVars>
      </dgm:prSet>
      <dgm:spPr/>
    </dgm:pt>
    <dgm:pt modelId="{E02188D4-1582-436A-98B8-F3057FCD14E5}" type="pres">
      <dgm:prSet presAssocID="{9D901686-5DA0-4AAD-8CAD-302CDBB18971}" presName="spaceBetweenRectangles" presStyleCnt="0"/>
      <dgm:spPr/>
    </dgm:pt>
    <dgm:pt modelId="{FBF6E06B-AD39-4A83-BB9F-5BEB0F39CD0E}" type="pres">
      <dgm:prSet presAssocID="{50A13C86-4901-482A-9B40-DB6A59B6A446}" presName="parentLin" presStyleCnt="0"/>
      <dgm:spPr/>
    </dgm:pt>
    <dgm:pt modelId="{46E96C92-2E21-4ADF-8247-FD99E01AA1B2}" type="pres">
      <dgm:prSet presAssocID="{50A13C86-4901-482A-9B40-DB6A59B6A446}" presName="parentLeftMargin" presStyleLbl="node1" presStyleIdx="1" presStyleCnt="5"/>
      <dgm:spPr/>
    </dgm:pt>
    <dgm:pt modelId="{AFED54AA-4D7A-4690-997F-49AEF6EF2BBD}" type="pres">
      <dgm:prSet presAssocID="{50A13C86-4901-482A-9B40-DB6A59B6A446}" presName="parentText" presStyleLbl="node1" presStyleIdx="2" presStyleCnt="5">
        <dgm:presLayoutVars>
          <dgm:chMax val="0"/>
          <dgm:bulletEnabled val="1"/>
        </dgm:presLayoutVars>
      </dgm:prSet>
      <dgm:spPr/>
    </dgm:pt>
    <dgm:pt modelId="{75E85C5A-FE03-40B3-A7DC-DDBF5B00F05E}" type="pres">
      <dgm:prSet presAssocID="{50A13C86-4901-482A-9B40-DB6A59B6A446}" presName="negativeSpace" presStyleCnt="0"/>
      <dgm:spPr/>
    </dgm:pt>
    <dgm:pt modelId="{D18666BA-1933-4BFC-AB2A-0E67C6FB4186}" type="pres">
      <dgm:prSet presAssocID="{50A13C86-4901-482A-9B40-DB6A59B6A446}" presName="childText" presStyleLbl="conFgAcc1" presStyleIdx="2" presStyleCnt="5">
        <dgm:presLayoutVars>
          <dgm:bulletEnabled val="1"/>
        </dgm:presLayoutVars>
      </dgm:prSet>
      <dgm:spPr/>
    </dgm:pt>
    <dgm:pt modelId="{91F83A65-6803-4857-9514-0AD31B543C0E}" type="pres">
      <dgm:prSet presAssocID="{6975A828-1E1C-4BAE-A94B-F6C6281A7655}" presName="spaceBetweenRectangles" presStyleCnt="0"/>
      <dgm:spPr/>
    </dgm:pt>
    <dgm:pt modelId="{AF31AB8D-1917-4ECD-8A5E-7647721CA9D8}" type="pres">
      <dgm:prSet presAssocID="{EEBBD178-21FD-4E50-8B07-1CB3FB93D9B9}" presName="parentLin" presStyleCnt="0"/>
      <dgm:spPr/>
    </dgm:pt>
    <dgm:pt modelId="{5D893A20-6C2F-4723-B118-00A6E46F0D47}" type="pres">
      <dgm:prSet presAssocID="{EEBBD178-21FD-4E50-8B07-1CB3FB93D9B9}" presName="parentLeftMargin" presStyleLbl="node1" presStyleIdx="2" presStyleCnt="5"/>
      <dgm:spPr/>
    </dgm:pt>
    <dgm:pt modelId="{1F9CB28E-4CAF-45D5-9922-A45FEE2C1401}" type="pres">
      <dgm:prSet presAssocID="{EEBBD178-21FD-4E50-8B07-1CB3FB93D9B9}" presName="parentText" presStyleLbl="node1" presStyleIdx="3" presStyleCnt="5">
        <dgm:presLayoutVars>
          <dgm:chMax val="0"/>
          <dgm:bulletEnabled val="1"/>
        </dgm:presLayoutVars>
      </dgm:prSet>
      <dgm:spPr/>
    </dgm:pt>
    <dgm:pt modelId="{984FA292-8D1C-408F-82A9-FCB581B1393E}" type="pres">
      <dgm:prSet presAssocID="{EEBBD178-21FD-4E50-8B07-1CB3FB93D9B9}" presName="negativeSpace" presStyleCnt="0"/>
      <dgm:spPr/>
    </dgm:pt>
    <dgm:pt modelId="{B73394BE-3239-4A6A-B5AC-00960220130D}" type="pres">
      <dgm:prSet presAssocID="{EEBBD178-21FD-4E50-8B07-1CB3FB93D9B9}" presName="childText" presStyleLbl="conFgAcc1" presStyleIdx="3" presStyleCnt="5">
        <dgm:presLayoutVars>
          <dgm:bulletEnabled val="1"/>
        </dgm:presLayoutVars>
      </dgm:prSet>
      <dgm:spPr/>
    </dgm:pt>
    <dgm:pt modelId="{0C923059-5BDC-4CB9-8836-77F49CA3CB0B}" type="pres">
      <dgm:prSet presAssocID="{9080C3CD-2383-4B0F-B7B7-8EA04BEB6E8C}" presName="spaceBetweenRectangles" presStyleCnt="0"/>
      <dgm:spPr/>
    </dgm:pt>
    <dgm:pt modelId="{89529738-5FC9-4BAB-8801-7AEB8F66BD5B}" type="pres">
      <dgm:prSet presAssocID="{8A7A6A27-FE79-4F0C-843D-B5F592A8A477}" presName="parentLin" presStyleCnt="0"/>
      <dgm:spPr/>
    </dgm:pt>
    <dgm:pt modelId="{501D38EA-18CC-437F-81F0-2407549DCC2C}" type="pres">
      <dgm:prSet presAssocID="{8A7A6A27-FE79-4F0C-843D-B5F592A8A477}" presName="parentLeftMargin" presStyleLbl="node1" presStyleIdx="3" presStyleCnt="5"/>
      <dgm:spPr/>
    </dgm:pt>
    <dgm:pt modelId="{4827BB34-0E86-4436-87DA-6059537C33EB}" type="pres">
      <dgm:prSet presAssocID="{8A7A6A27-FE79-4F0C-843D-B5F592A8A477}" presName="parentText" presStyleLbl="node1" presStyleIdx="4" presStyleCnt="5">
        <dgm:presLayoutVars>
          <dgm:chMax val="0"/>
          <dgm:bulletEnabled val="1"/>
        </dgm:presLayoutVars>
      </dgm:prSet>
      <dgm:spPr/>
    </dgm:pt>
    <dgm:pt modelId="{CA372397-D07E-4E46-B709-0243C448551F}" type="pres">
      <dgm:prSet presAssocID="{8A7A6A27-FE79-4F0C-843D-B5F592A8A477}" presName="negativeSpace" presStyleCnt="0"/>
      <dgm:spPr/>
    </dgm:pt>
    <dgm:pt modelId="{95161727-5838-4C95-86F3-28152C04D85D}" type="pres">
      <dgm:prSet presAssocID="{8A7A6A27-FE79-4F0C-843D-B5F592A8A477}" presName="childText" presStyleLbl="conFgAcc1" presStyleIdx="4" presStyleCnt="5">
        <dgm:presLayoutVars>
          <dgm:bulletEnabled val="1"/>
        </dgm:presLayoutVars>
      </dgm:prSet>
      <dgm:spPr/>
    </dgm:pt>
  </dgm:ptLst>
  <dgm:cxnLst>
    <dgm:cxn modelId="{76408C05-28D1-4B98-8455-EDACB4378D07}" srcId="{BDC64D99-DC14-45ED-ACD8-196ACB7487FF}" destId="{D361EF34-AA93-443D-93E5-3670F8F963E8}" srcOrd="0" destOrd="0" parTransId="{570F5F94-0C1E-4AE6-A04F-FD9228AAE894}" sibTransId="{AC592F00-D24D-4360-8C51-291AD1CD55DB}"/>
    <dgm:cxn modelId="{3A7EBD12-F2A3-4196-8D21-174B0D580BD6}" type="presOf" srcId="{8A7A6A27-FE79-4F0C-843D-B5F592A8A477}" destId="{501D38EA-18CC-437F-81F0-2407549DCC2C}" srcOrd="0" destOrd="0" presId="urn:microsoft.com/office/officeart/2005/8/layout/list1"/>
    <dgm:cxn modelId="{6F2B3923-19E7-48BD-A274-0AC0F53A8631}" type="presOf" srcId="{D361EF34-AA93-443D-93E5-3670F8F963E8}" destId="{8215F29C-9E65-40E6-97D2-CDE68BBC8219}" srcOrd="0" destOrd="0" presId="urn:microsoft.com/office/officeart/2005/8/layout/list1"/>
    <dgm:cxn modelId="{2D44F127-E57C-4EAE-A6A4-3746A60DB57A}" type="presOf" srcId="{EEBBD178-21FD-4E50-8B07-1CB3FB93D9B9}" destId="{5D893A20-6C2F-4723-B118-00A6E46F0D47}" srcOrd="0" destOrd="0" presId="urn:microsoft.com/office/officeart/2005/8/layout/list1"/>
    <dgm:cxn modelId="{2C044A3E-4094-4CD3-A42D-1F7B7CC112AC}" type="presOf" srcId="{50A13C86-4901-482A-9B40-DB6A59B6A446}" destId="{AFED54AA-4D7A-4690-997F-49AEF6EF2BBD}" srcOrd="1" destOrd="0" presId="urn:microsoft.com/office/officeart/2005/8/layout/list1"/>
    <dgm:cxn modelId="{86B63063-9012-46CA-AD91-3D0330C3DE5A}" srcId="{8A7A6A27-FE79-4F0C-843D-B5F592A8A477}" destId="{53478036-2581-433E-AA35-2BF428DFADB0}" srcOrd="0" destOrd="0" parTransId="{E2AA1E5E-E617-4257-8464-32F2B36FA1F8}" sibTransId="{5C52A99D-B818-4CDF-915F-72B03D6E8B5F}"/>
    <dgm:cxn modelId="{E4580A68-2ABC-4EDB-9B23-66B705D5ACB3}" type="presOf" srcId="{50A13C86-4901-482A-9B40-DB6A59B6A446}" destId="{46E96C92-2E21-4ADF-8247-FD99E01AA1B2}" srcOrd="0" destOrd="0" presId="urn:microsoft.com/office/officeart/2005/8/layout/list1"/>
    <dgm:cxn modelId="{218B716A-C104-4D40-8713-EFE06A6BC2F8}" srcId="{BDC64D99-DC14-45ED-ACD8-196ACB7487FF}" destId="{21D36665-36B8-4E1A-B761-7A539DDEF4BF}" srcOrd="1" destOrd="0" parTransId="{DC8C7D86-B735-4697-B630-BEA11ABE4424}" sibTransId="{9D901686-5DA0-4AAD-8CAD-302CDBB18971}"/>
    <dgm:cxn modelId="{A10E0B4C-918E-4DD2-9D40-07BA4097F5ED}" type="presOf" srcId="{22AE0E22-810D-4537-9DC9-204A077B27C7}" destId="{D18666BA-1933-4BFC-AB2A-0E67C6FB4186}" srcOrd="0" destOrd="0" presId="urn:microsoft.com/office/officeart/2005/8/layout/list1"/>
    <dgm:cxn modelId="{E9B0EC74-DA2B-4452-8966-DA1CE4C81CFC}" srcId="{BDC64D99-DC14-45ED-ACD8-196ACB7487FF}" destId="{EEBBD178-21FD-4E50-8B07-1CB3FB93D9B9}" srcOrd="3" destOrd="0" parTransId="{8D0E2266-D0A3-419E-993A-955C1E399A5C}" sibTransId="{9080C3CD-2383-4B0F-B7B7-8EA04BEB6E8C}"/>
    <dgm:cxn modelId="{F68A0E56-A173-4039-AF2A-4484EF7F4528}" type="presOf" srcId="{D361EF34-AA93-443D-93E5-3670F8F963E8}" destId="{4D8FEBEF-41A5-4840-8C33-571197C816C3}" srcOrd="1" destOrd="0" presId="urn:microsoft.com/office/officeart/2005/8/layout/list1"/>
    <dgm:cxn modelId="{96F83257-F071-4023-A08F-943E57A0A06B}" type="presOf" srcId="{BDC64D99-DC14-45ED-ACD8-196ACB7487FF}" destId="{2D15387B-60F0-4B92-B526-ABE4A7FCF3AC}" srcOrd="0" destOrd="0" presId="urn:microsoft.com/office/officeart/2005/8/layout/list1"/>
    <dgm:cxn modelId="{DE7E9079-CEAE-471E-B57F-2571F523939A}" type="presOf" srcId="{47A30BBB-20B9-4FAE-A1AB-F85589858764}" destId="{DC59FE26-4822-4DF1-A679-9872F5820011}" srcOrd="0" destOrd="0" presId="urn:microsoft.com/office/officeart/2005/8/layout/list1"/>
    <dgm:cxn modelId="{A43CDD59-28C5-478E-93D1-E80A8734AC92}" type="presOf" srcId="{21D36665-36B8-4E1A-B761-7A539DDEF4BF}" destId="{65C37683-9B5E-499D-99DF-94C70AA7B054}" srcOrd="1" destOrd="0" presId="urn:microsoft.com/office/officeart/2005/8/layout/list1"/>
    <dgm:cxn modelId="{4517FB87-788A-4A7B-AAC2-0F895DC19E38}" srcId="{BDC64D99-DC14-45ED-ACD8-196ACB7487FF}" destId="{8A7A6A27-FE79-4F0C-843D-B5F592A8A477}" srcOrd="4" destOrd="0" parTransId="{CF5B64EC-BDDB-4DD1-9730-499B8293E28A}" sibTransId="{F400E0F8-0203-47F7-81ED-E11741A8082F}"/>
    <dgm:cxn modelId="{F589D49F-EDCA-4599-A686-C767C26135F0}" srcId="{EEBBD178-21FD-4E50-8B07-1CB3FB93D9B9}" destId="{FE0F5B0F-373C-4CF8-9CCA-D478C784C783}" srcOrd="0" destOrd="0" parTransId="{C73BE31D-97FF-46F7-A216-799CDAA80A94}" sibTransId="{D2249C16-9C7B-48CC-A454-214926C0F6CE}"/>
    <dgm:cxn modelId="{5E4307A1-03E8-459D-B4BC-8D89054B1EE9}" type="presOf" srcId="{8A7A6A27-FE79-4F0C-843D-B5F592A8A477}" destId="{4827BB34-0E86-4436-87DA-6059537C33EB}" srcOrd="1" destOrd="0" presId="urn:microsoft.com/office/officeart/2005/8/layout/list1"/>
    <dgm:cxn modelId="{1FF2E3A7-FC91-4125-9E6B-188E16281F9A}" srcId="{50A13C86-4901-482A-9B40-DB6A59B6A446}" destId="{22AE0E22-810D-4537-9DC9-204A077B27C7}" srcOrd="0" destOrd="0" parTransId="{3353E77B-1877-4B97-8090-744BAF40E03E}" sibTransId="{F6E67913-641A-4EF4-B8BA-A94AA78B0E3B}"/>
    <dgm:cxn modelId="{514ACDA8-4B7A-41C3-A60C-1E3475D7CB14}" srcId="{BDC64D99-DC14-45ED-ACD8-196ACB7487FF}" destId="{50A13C86-4901-482A-9B40-DB6A59B6A446}" srcOrd="2" destOrd="0" parTransId="{6BD1D617-3F2A-4BB0-A0B6-55B22E7AD3C8}" sibTransId="{6975A828-1E1C-4BAE-A94B-F6C6281A7655}"/>
    <dgm:cxn modelId="{2FAB52C3-F0F6-4101-AB9A-E97E1AC4A7D7}" srcId="{21D36665-36B8-4E1A-B761-7A539DDEF4BF}" destId="{9DFC4E6B-8749-4799-80B9-97A670602A70}" srcOrd="0" destOrd="0" parTransId="{1F5A76A6-EAC9-4D77-9F3A-B2902BA21A81}" sibTransId="{848FD0DC-A43C-43A0-BB61-251E98EA30E8}"/>
    <dgm:cxn modelId="{8707DCCB-81D1-464F-9451-526B85E32644}" type="presOf" srcId="{EEBBD178-21FD-4E50-8B07-1CB3FB93D9B9}" destId="{1F9CB28E-4CAF-45D5-9922-A45FEE2C1401}" srcOrd="1" destOrd="0" presId="urn:microsoft.com/office/officeart/2005/8/layout/list1"/>
    <dgm:cxn modelId="{C1AE87CE-76AC-443F-B6BC-23360DC9B27F}" type="presOf" srcId="{FE0F5B0F-373C-4CF8-9CCA-D478C784C783}" destId="{B73394BE-3239-4A6A-B5AC-00960220130D}" srcOrd="0" destOrd="0" presId="urn:microsoft.com/office/officeart/2005/8/layout/list1"/>
    <dgm:cxn modelId="{80929FDB-C45C-47D2-92CF-6F63B96E25C6}" type="presOf" srcId="{9DFC4E6B-8749-4799-80B9-97A670602A70}" destId="{3EFC49D7-8BB1-43E9-91AA-D13C104FA8DF}" srcOrd="0" destOrd="0" presId="urn:microsoft.com/office/officeart/2005/8/layout/list1"/>
    <dgm:cxn modelId="{D4737AEF-5CF3-41EC-9594-D3DEF649D851}" type="presOf" srcId="{21D36665-36B8-4E1A-B761-7A539DDEF4BF}" destId="{37B7C034-C5EC-46A0-8F7A-DC7F73D076BF}" srcOrd="0" destOrd="0" presId="urn:microsoft.com/office/officeart/2005/8/layout/list1"/>
    <dgm:cxn modelId="{5CA208F1-8B73-40F3-8425-C14F286827FE}" srcId="{D361EF34-AA93-443D-93E5-3670F8F963E8}" destId="{47A30BBB-20B9-4FAE-A1AB-F85589858764}" srcOrd="0" destOrd="0" parTransId="{59C67F32-D4F3-4939-81D2-3DC0F885F0F0}" sibTransId="{E33C7D65-588F-4BD5-B7D6-1CFFB4401037}"/>
    <dgm:cxn modelId="{88200BF1-6CAF-4512-88F5-49CB61B08EC9}" type="presOf" srcId="{53478036-2581-433E-AA35-2BF428DFADB0}" destId="{95161727-5838-4C95-86F3-28152C04D85D}" srcOrd="0" destOrd="0" presId="urn:microsoft.com/office/officeart/2005/8/layout/list1"/>
    <dgm:cxn modelId="{A37C55F2-3C49-4458-8274-7BBE054478DA}" type="presParOf" srcId="{2D15387B-60F0-4B92-B526-ABE4A7FCF3AC}" destId="{42AA6942-59E9-4B7C-8196-78B4CF1C3FD2}" srcOrd="0" destOrd="0" presId="urn:microsoft.com/office/officeart/2005/8/layout/list1"/>
    <dgm:cxn modelId="{806C4206-EA75-4BB8-A405-A3E7A1259244}" type="presParOf" srcId="{42AA6942-59E9-4B7C-8196-78B4CF1C3FD2}" destId="{8215F29C-9E65-40E6-97D2-CDE68BBC8219}" srcOrd="0" destOrd="0" presId="urn:microsoft.com/office/officeart/2005/8/layout/list1"/>
    <dgm:cxn modelId="{0D6F2B9E-81A8-45DF-BC9B-9B6781054D3F}" type="presParOf" srcId="{42AA6942-59E9-4B7C-8196-78B4CF1C3FD2}" destId="{4D8FEBEF-41A5-4840-8C33-571197C816C3}" srcOrd="1" destOrd="0" presId="urn:microsoft.com/office/officeart/2005/8/layout/list1"/>
    <dgm:cxn modelId="{DC34F99F-52F7-40FA-A9C3-08B7BBF63729}" type="presParOf" srcId="{2D15387B-60F0-4B92-B526-ABE4A7FCF3AC}" destId="{3B9CC9BC-B131-47D4-A08C-94B9D88F690F}" srcOrd="1" destOrd="0" presId="urn:microsoft.com/office/officeart/2005/8/layout/list1"/>
    <dgm:cxn modelId="{5D528B07-6AE7-415B-9BEE-5F36106B15C4}" type="presParOf" srcId="{2D15387B-60F0-4B92-B526-ABE4A7FCF3AC}" destId="{DC59FE26-4822-4DF1-A679-9872F5820011}" srcOrd="2" destOrd="0" presId="urn:microsoft.com/office/officeart/2005/8/layout/list1"/>
    <dgm:cxn modelId="{60812CFD-6764-4DA5-92BA-BF6A279CBF1F}" type="presParOf" srcId="{2D15387B-60F0-4B92-B526-ABE4A7FCF3AC}" destId="{732681FC-18CE-46EF-B3D2-4F60C0D89729}" srcOrd="3" destOrd="0" presId="urn:microsoft.com/office/officeart/2005/8/layout/list1"/>
    <dgm:cxn modelId="{D7922BC1-67E0-411A-AB3C-18B6A69B4D56}" type="presParOf" srcId="{2D15387B-60F0-4B92-B526-ABE4A7FCF3AC}" destId="{747DB919-7D5B-48D1-931C-A452426A4C2E}" srcOrd="4" destOrd="0" presId="urn:microsoft.com/office/officeart/2005/8/layout/list1"/>
    <dgm:cxn modelId="{D06A618B-B4A3-4A96-A8BA-89F135445309}" type="presParOf" srcId="{747DB919-7D5B-48D1-931C-A452426A4C2E}" destId="{37B7C034-C5EC-46A0-8F7A-DC7F73D076BF}" srcOrd="0" destOrd="0" presId="urn:microsoft.com/office/officeart/2005/8/layout/list1"/>
    <dgm:cxn modelId="{38DD95AC-33A0-415B-8C25-70D341978388}" type="presParOf" srcId="{747DB919-7D5B-48D1-931C-A452426A4C2E}" destId="{65C37683-9B5E-499D-99DF-94C70AA7B054}" srcOrd="1" destOrd="0" presId="urn:microsoft.com/office/officeart/2005/8/layout/list1"/>
    <dgm:cxn modelId="{B2447240-968D-4950-9797-F2F7DA783804}" type="presParOf" srcId="{2D15387B-60F0-4B92-B526-ABE4A7FCF3AC}" destId="{12B9410A-14CE-41F0-8FB0-DFA75A03516D}" srcOrd="5" destOrd="0" presId="urn:microsoft.com/office/officeart/2005/8/layout/list1"/>
    <dgm:cxn modelId="{D16A9A03-9EC5-4E54-8BC9-973807BDCD43}" type="presParOf" srcId="{2D15387B-60F0-4B92-B526-ABE4A7FCF3AC}" destId="{3EFC49D7-8BB1-43E9-91AA-D13C104FA8DF}" srcOrd="6" destOrd="0" presId="urn:microsoft.com/office/officeart/2005/8/layout/list1"/>
    <dgm:cxn modelId="{BFAC33CF-2E95-4F2E-9977-15BC9C8506F1}" type="presParOf" srcId="{2D15387B-60F0-4B92-B526-ABE4A7FCF3AC}" destId="{E02188D4-1582-436A-98B8-F3057FCD14E5}" srcOrd="7" destOrd="0" presId="urn:microsoft.com/office/officeart/2005/8/layout/list1"/>
    <dgm:cxn modelId="{85C14CD6-FE26-4E52-918D-3C565BAEB82E}" type="presParOf" srcId="{2D15387B-60F0-4B92-B526-ABE4A7FCF3AC}" destId="{FBF6E06B-AD39-4A83-BB9F-5BEB0F39CD0E}" srcOrd="8" destOrd="0" presId="urn:microsoft.com/office/officeart/2005/8/layout/list1"/>
    <dgm:cxn modelId="{CD9E44F4-8D5C-49F6-AFA6-2F1AD83E4983}" type="presParOf" srcId="{FBF6E06B-AD39-4A83-BB9F-5BEB0F39CD0E}" destId="{46E96C92-2E21-4ADF-8247-FD99E01AA1B2}" srcOrd="0" destOrd="0" presId="urn:microsoft.com/office/officeart/2005/8/layout/list1"/>
    <dgm:cxn modelId="{A2D9BB58-B310-4334-9624-D138AAEAB197}" type="presParOf" srcId="{FBF6E06B-AD39-4A83-BB9F-5BEB0F39CD0E}" destId="{AFED54AA-4D7A-4690-997F-49AEF6EF2BBD}" srcOrd="1" destOrd="0" presId="urn:microsoft.com/office/officeart/2005/8/layout/list1"/>
    <dgm:cxn modelId="{7EF47EA6-5942-46FA-9B04-AB30F122DE33}" type="presParOf" srcId="{2D15387B-60F0-4B92-B526-ABE4A7FCF3AC}" destId="{75E85C5A-FE03-40B3-A7DC-DDBF5B00F05E}" srcOrd="9" destOrd="0" presId="urn:microsoft.com/office/officeart/2005/8/layout/list1"/>
    <dgm:cxn modelId="{4FEEE1CF-87A7-433F-84DF-95259623CEBC}" type="presParOf" srcId="{2D15387B-60F0-4B92-B526-ABE4A7FCF3AC}" destId="{D18666BA-1933-4BFC-AB2A-0E67C6FB4186}" srcOrd="10" destOrd="0" presId="urn:microsoft.com/office/officeart/2005/8/layout/list1"/>
    <dgm:cxn modelId="{64991900-F85A-4C35-AC39-797D3392DE25}" type="presParOf" srcId="{2D15387B-60F0-4B92-B526-ABE4A7FCF3AC}" destId="{91F83A65-6803-4857-9514-0AD31B543C0E}" srcOrd="11" destOrd="0" presId="urn:microsoft.com/office/officeart/2005/8/layout/list1"/>
    <dgm:cxn modelId="{E4A4B8CA-1A3B-41EF-9569-B83447821559}" type="presParOf" srcId="{2D15387B-60F0-4B92-B526-ABE4A7FCF3AC}" destId="{AF31AB8D-1917-4ECD-8A5E-7647721CA9D8}" srcOrd="12" destOrd="0" presId="urn:microsoft.com/office/officeart/2005/8/layout/list1"/>
    <dgm:cxn modelId="{F93B2563-3876-4B2D-BE30-276D90F43F19}" type="presParOf" srcId="{AF31AB8D-1917-4ECD-8A5E-7647721CA9D8}" destId="{5D893A20-6C2F-4723-B118-00A6E46F0D47}" srcOrd="0" destOrd="0" presId="urn:microsoft.com/office/officeart/2005/8/layout/list1"/>
    <dgm:cxn modelId="{7B3BF7D7-1040-40C8-BF9C-79A37D95956A}" type="presParOf" srcId="{AF31AB8D-1917-4ECD-8A5E-7647721CA9D8}" destId="{1F9CB28E-4CAF-45D5-9922-A45FEE2C1401}" srcOrd="1" destOrd="0" presId="urn:microsoft.com/office/officeart/2005/8/layout/list1"/>
    <dgm:cxn modelId="{6F1CB6D3-2BAC-448A-8AA6-6E0940E1632B}" type="presParOf" srcId="{2D15387B-60F0-4B92-B526-ABE4A7FCF3AC}" destId="{984FA292-8D1C-408F-82A9-FCB581B1393E}" srcOrd="13" destOrd="0" presId="urn:microsoft.com/office/officeart/2005/8/layout/list1"/>
    <dgm:cxn modelId="{D7C278DC-A87F-41B5-8E85-E7FFDE21DD3D}" type="presParOf" srcId="{2D15387B-60F0-4B92-B526-ABE4A7FCF3AC}" destId="{B73394BE-3239-4A6A-B5AC-00960220130D}" srcOrd="14" destOrd="0" presId="urn:microsoft.com/office/officeart/2005/8/layout/list1"/>
    <dgm:cxn modelId="{0EAF3E51-BAE8-44E2-A5F6-F6A08C13E42C}" type="presParOf" srcId="{2D15387B-60F0-4B92-B526-ABE4A7FCF3AC}" destId="{0C923059-5BDC-4CB9-8836-77F49CA3CB0B}" srcOrd="15" destOrd="0" presId="urn:microsoft.com/office/officeart/2005/8/layout/list1"/>
    <dgm:cxn modelId="{B2B59F83-5778-4ACA-9722-5C49BB62D928}" type="presParOf" srcId="{2D15387B-60F0-4B92-B526-ABE4A7FCF3AC}" destId="{89529738-5FC9-4BAB-8801-7AEB8F66BD5B}" srcOrd="16" destOrd="0" presId="urn:microsoft.com/office/officeart/2005/8/layout/list1"/>
    <dgm:cxn modelId="{218560A8-0801-48C1-AE20-F1D3815E7476}" type="presParOf" srcId="{89529738-5FC9-4BAB-8801-7AEB8F66BD5B}" destId="{501D38EA-18CC-437F-81F0-2407549DCC2C}" srcOrd="0" destOrd="0" presId="urn:microsoft.com/office/officeart/2005/8/layout/list1"/>
    <dgm:cxn modelId="{7BB897C0-7D4A-4F89-AFFF-D5FC47F82F31}" type="presParOf" srcId="{89529738-5FC9-4BAB-8801-7AEB8F66BD5B}" destId="{4827BB34-0E86-4436-87DA-6059537C33EB}" srcOrd="1" destOrd="0" presId="urn:microsoft.com/office/officeart/2005/8/layout/list1"/>
    <dgm:cxn modelId="{6811F6CE-FF9F-4218-9AA6-6B0FFC6161A7}" type="presParOf" srcId="{2D15387B-60F0-4B92-B526-ABE4A7FCF3AC}" destId="{CA372397-D07E-4E46-B709-0243C448551F}" srcOrd="17" destOrd="0" presId="urn:microsoft.com/office/officeart/2005/8/layout/list1"/>
    <dgm:cxn modelId="{854DE3CE-6CC7-46D5-878E-645176E36AF6}" type="presParOf" srcId="{2D15387B-60F0-4B92-B526-ABE4A7FCF3AC}" destId="{95161727-5838-4C95-86F3-28152C04D85D}"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AU"/>
        </a:p>
      </dgm:t>
    </dgm:pt>
    <dgm:pt modelId="{CDCA19B1-3B45-4B24-8F19-085A650701BC}">
      <dgm:prSet/>
      <dgm:spPr/>
      <dgm:t>
        <a:bodyPr/>
        <a:lstStyle/>
        <a:p>
          <a:r>
            <a:rPr lang="en-US" dirty="0"/>
            <a:t>If upgrading from SQL Server 2012 to 2019. Which report should figure prominently in your upgrade plan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F359A0F-D022-4204-B253-380A4D716538}">
      <dgm:prSet/>
      <dgm:spPr/>
      <dgm:t>
        <a:bodyPr/>
        <a:lstStyle/>
        <a:p>
          <a:r>
            <a:rPr lang="en-US" dirty="0"/>
            <a:t>In a report’s bar chart what does each bar represent?</a:t>
          </a:r>
        </a:p>
      </dgm:t>
    </dgm:pt>
    <dgm:pt modelId="{1962363D-D9C0-4500-A001-DD20C43D2DAB}" type="parTrans" cxnId="{CAD6F6F0-6CE3-4621-8C83-0E248D241286}">
      <dgm:prSet/>
      <dgm:spPr/>
      <dgm:t>
        <a:bodyPr/>
        <a:lstStyle/>
        <a:p>
          <a:endParaRPr lang="en-US"/>
        </a:p>
      </dgm:t>
    </dgm:pt>
    <dgm:pt modelId="{6C309973-6C59-41BB-87D5-38C026BDD5D9}" type="sibTrans" cxnId="{CAD6F6F0-6CE3-4621-8C83-0E248D241286}">
      <dgm:prSet/>
      <dgm:spPr/>
      <dgm:t>
        <a:bodyPr/>
        <a:lstStyle/>
        <a:p>
          <a:endParaRPr lang="en-US"/>
        </a:p>
      </dgm:t>
    </dgm:pt>
    <dgm:pt modelId="{3519E021-E680-4807-A94F-BD6EDEC53B98}">
      <dgm:prSet/>
      <dgm:spPr/>
      <dgm:t>
        <a:bodyPr/>
        <a:lstStyle/>
        <a:p>
          <a:r>
            <a:rPr lang="en-US" dirty="0"/>
            <a:t> Which report can help troubleshoot a parameter sniffing issue?</a:t>
          </a:r>
        </a:p>
      </dgm:t>
    </dgm:pt>
    <dgm:pt modelId="{A3E0B19F-DF02-401C-97DE-63BD5208138C}" type="parTrans" cxnId="{B17E154A-F2A1-471F-AD81-772E99244E69}">
      <dgm:prSet/>
      <dgm:spPr/>
      <dgm:t>
        <a:bodyPr/>
        <a:lstStyle/>
        <a:p>
          <a:endParaRPr lang="en-US"/>
        </a:p>
      </dgm:t>
    </dgm:pt>
    <dgm:pt modelId="{78F20EE7-EBBF-45CF-9ADD-05F796FC8C26}" type="sibTrans" cxnId="{B17E154A-F2A1-471F-AD81-772E99244E69}">
      <dgm:prSet/>
      <dgm:spPr/>
      <dgm:t>
        <a:bodyPr/>
        <a:lstStyle/>
        <a:p>
          <a:endParaRPr lang="en-US"/>
        </a:p>
      </dgm:t>
    </dgm:pt>
    <dgm:pt modelId="{4DF8A291-91D3-4DE9-98EF-11F73A8421AB}">
      <dgm:prSet/>
      <dgm:spPr/>
      <dgm:t>
        <a:bodyPr/>
        <a:lstStyle/>
        <a:p>
          <a:r>
            <a:rPr lang="en-US" dirty="0"/>
            <a:t>Querying the wait statistics DMV it returns high PAGEIOLATCH waits. Which report can help identify queries with high IO wait times? </a:t>
          </a:r>
        </a:p>
      </dgm:t>
    </dgm:pt>
    <dgm:pt modelId="{F92315D5-5F3A-44D6-B84F-6162D4C839E3}" type="parTrans" cxnId="{102FEA3E-BE4D-4E41-A8AA-3E6B6503FC60}">
      <dgm:prSet/>
      <dgm:spPr/>
      <dgm:t>
        <a:bodyPr/>
        <a:lstStyle/>
        <a:p>
          <a:endParaRPr lang="en-US"/>
        </a:p>
      </dgm:t>
    </dgm:pt>
    <dgm:pt modelId="{0C5A89C8-A321-460D-84D6-579533B8DF7A}" type="sibTrans" cxnId="{102FEA3E-BE4D-4E41-A8AA-3E6B6503FC60}">
      <dgm:prSet/>
      <dgm:spPr/>
      <dgm:t>
        <a:bodyPr/>
        <a:lstStyle/>
        <a:p>
          <a:endParaRPr lang="en-US"/>
        </a:p>
      </dgm:t>
    </dgm:pt>
    <dgm:pt modelId="{DAC278A3-90B8-4B97-8B48-AA639BA83EAC}">
      <dgm:prSet/>
      <dgm:spPr/>
      <dgm:t>
        <a:bodyPr/>
        <a:lstStyle/>
        <a:p>
          <a:r>
            <a:rPr lang="en-US" dirty="0"/>
            <a:t>Someone has dropped an index needed by a forced plan. What happens the next time the query executes?  What happens if the index is recreated?</a:t>
          </a:r>
        </a:p>
      </dgm:t>
    </dgm:pt>
    <dgm:pt modelId="{86FF7577-EC67-463F-AE6C-337FDEFAEEDC}" type="parTrans" cxnId="{D41F6E6D-E7A0-43C3-B12B-08A614AFE39D}">
      <dgm:prSet/>
      <dgm:spPr/>
      <dgm:t>
        <a:bodyPr/>
        <a:lstStyle/>
        <a:p>
          <a:endParaRPr lang="en-US"/>
        </a:p>
      </dgm:t>
    </dgm:pt>
    <dgm:pt modelId="{5567B9D8-B7BE-4E39-935F-A80FB0945DDD}" type="sibTrans" cxnId="{D41F6E6D-E7A0-43C3-B12B-08A614AFE39D}">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90418C0-AEDD-4CE1-8472-B002093644D5}" type="pres">
      <dgm:prSet presAssocID="{CAE4D9F8-FDBB-4525-9125-6BAF56328FCE}" presName="spacer" presStyleCnt="0"/>
      <dgm:spPr/>
    </dgm:pt>
    <dgm:pt modelId="{54FE124D-C180-4875-9FE1-0D9AA94AA38B}" type="pres">
      <dgm:prSet presAssocID="{4F359A0F-D022-4204-B253-380A4D716538}" presName="parentText" presStyleLbl="node1" presStyleIdx="1" presStyleCnt="5">
        <dgm:presLayoutVars>
          <dgm:chMax val="0"/>
          <dgm:bulletEnabled val="1"/>
        </dgm:presLayoutVars>
      </dgm:prSet>
      <dgm:spPr/>
    </dgm:pt>
    <dgm:pt modelId="{F940E68E-E704-4814-BF89-065384CE8579}" type="pres">
      <dgm:prSet presAssocID="{6C309973-6C59-41BB-87D5-38C026BDD5D9}" presName="spacer" presStyleCnt="0"/>
      <dgm:spPr/>
    </dgm:pt>
    <dgm:pt modelId="{682F4D3A-F129-4AD8-A07B-7F06F695F982}" type="pres">
      <dgm:prSet presAssocID="{3519E021-E680-4807-A94F-BD6EDEC53B98}" presName="parentText" presStyleLbl="node1" presStyleIdx="2" presStyleCnt="5">
        <dgm:presLayoutVars>
          <dgm:chMax val="0"/>
          <dgm:bulletEnabled val="1"/>
        </dgm:presLayoutVars>
      </dgm:prSet>
      <dgm:spPr/>
    </dgm:pt>
    <dgm:pt modelId="{7BCEC22F-8D9D-45A0-AA4F-9816AAFE6D03}" type="pres">
      <dgm:prSet presAssocID="{78F20EE7-EBBF-45CF-9ADD-05F796FC8C26}" presName="spacer" presStyleCnt="0"/>
      <dgm:spPr/>
    </dgm:pt>
    <dgm:pt modelId="{CFAAB923-0A67-45D9-BB26-5D5037C1BD28}" type="pres">
      <dgm:prSet presAssocID="{4DF8A291-91D3-4DE9-98EF-11F73A8421AB}" presName="parentText" presStyleLbl="node1" presStyleIdx="3" presStyleCnt="5">
        <dgm:presLayoutVars>
          <dgm:chMax val="0"/>
          <dgm:bulletEnabled val="1"/>
        </dgm:presLayoutVars>
      </dgm:prSet>
      <dgm:spPr/>
    </dgm:pt>
    <dgm:pt modelId="{15A1B76A-0A7E-4B8E-A689-09C39E29719D}" type="pres">
      <dgm:prSet presAssocID="{0C5A89C8-A321-460D-84D6-579533B8DF7A}" presName="spacer" presStyleCnt="0"/>
      <dgm:spPr/>
    </dgm:pt>
    <dgm:pt modelId="{FB500A59-BA24-48C3-956B-D338A64B25A5}" type="pres">
      <dgm:prSet presAssocID="{DAC278A3-90B8-4B97-8B48-AA639BA83EAC}"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95D1360B-CA15-4D53-BB07-EE224471AD81}" type="presOf" srcId="{4F359A0F-D022-4204-B253-380A4D716538}" destId="{54FE124D-C180-4875-9FE1-0D9AA94AA38B}"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102FEA3E-BE4D-4E41-A8AA-3E6B6503FC60}" srcId="{15A7774C-B622-4F48-8F7B-AF1AAB74E997}" destId="{4DF8A291-91D3-4DE9-98EF-11F73A8421AB}" srcOrd="3" destOrd="0" parTransId="{F92315D5-5F3A-44D6-B84F-6162D4C839E3}" sibTransId="{0C5A89C8-A321-460D-84D6-579533B8DF7A}"/>
    <dgm:cxn modelId="{825BEE5E-690F-439C-B6D0-08A57A886B33}" type="presOf" srcId="{DAC278A3-90B8-4B97-8B48-AA639BA83EAC}" destId="{FB500A59-BA24-48C3-956B-D338A64B25A5}" srcOrd="0" destOrd="0" presId="urn:microsoft.com/office/officeart/2005/8/layout/vList2"/>
    <dgm:cxn modelId="{B17E154A-F2A1-471F-AD81-772E99244E69}" srcId="{15A7774C-B622-4F48-8F7B-AF1AAB74E997}" destId="{3519E021-E680-4807-A94F-BD6EDEC53B98}" srcOrd="2" destOrd="0" parTransId="{A3E0B19F-DF02-401C-97DE-63BD5208138C}" sibTransId="{78F20EE7-EBBF-45CF-9ADD-05F796FC8C26}"/>
    <dgm:cxn modelId="{D41F6E6D-E7A0-43C3-B12B-08A614AFE39D}" srcId="{15A7774C-B622-4F48-8F7B-AF1AAB74E997}" destId="{DAC278A3-90B8-4B97-8B48-AA639BA83EAC}" srcOrd="4" destOrd="0" parTransId="{86FF7577-EC67-463F-AE6C-337FDEFAEEDC}" sibTransId="{5567B9D8-B7BE-4E39-935F-A80FB0945DDD}"/>
    <dgm:cxn modelId="{1C34CC9F-A8AA-4CC5-BFA9-BD217587E10A}" type="presOf" srcId="{4DF8A291-91D3-4DE9-98EF-11F73A8421AB}" destId="{CFAAB923-0A67-45D9-BB26-5D5037C1BD28}" srcOrd="0" destOrd="0" presId="urn:microsoft.com/office/officeart/2005/8/layout/vList2"/>
    <dgm:cxn modelId="{F71EE7A1-0068-4E9A-B460-9191EBB5B245}" type="presOf" srcId="{3519E021-E680-4807-A94F-BD6EDEC53B98}" destId="{682F4D3A-F129-4AD8-A07B-7F06F695F982}"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CAD6F6F0-6CE3-4621-8C83-0E248D241286}" srcId="{15A7774C-B622-4F48-8F7B-AF1AAB74E997}" destId="{4F359A0F-D022-4204-B253-380A4D716538}" srcOrd="1" destOrd="0" parTransId="{1962363D-D9C0-4500-A001-DD20C43D2DAB}" sibTransId="{6C309973-6C59-41BB-87D5-38C026BDD5D9}"/>
    <dgm:cxn modelId="{8DEFA225-8389-4C32-8391-464D66A4B297}" type="presParOf" srcId="{97400BD5-14CE-4761-8A6A-64BC46D23158}" destId="{86989247-99F6-4AF2-B76D-35A7CDAFD370}" srcOrd="0" destOrd="0" presId="urn:microsoft.com/office/officeart/2005/8/layout/vList2"/>
    <dgm:cxn modelId="{B5A6833A-37E4-41C9-8472-812591201789}" type="presParOf" srcId="{97400BD5-14CE-4761-8A6A-64BC46D23158}" destId="{C90418C0-AEDD-4CE1-8472-B002093644D5}" srcOrd="1" destOrd="0" presId="urn:microsoft.com/office/officeart/2005/8/layout/vList2"/>
    <dgm:cxn modelId="{FB7DC263-FD9F-43F8-9A16-6CB6E319EEBD}" type="presParOf" srcId="{97400BD5-14CE-4761-8A6A-64BC46D23158}" destId="{54FE124D-C180-4875-9FE1-0D9AA94AA38B}" srcOrd="2" destOrd="0" presId="urn:microsoft.com/office/officeart/2005/8/layout/vList2"/>
    <dgm:cxn modelId="{1C24F21E-352A-410B-B61B-F220482267D8}" type="presParOf" srcId="{97400BD5-14CE-4761-8A6A-64BC46D23158}" destId="{F940E68E-E704-4814-BF89-065384CE8579}" srcOrd="3" destOrd="0" presId="urn:microsoft.com/office/officeart/2005/8/layout/vList2"/>
    <dgm:cxn modelId="{89016EEB-39DD-4179-BCED-C24002986D72}" type="presParOf" srcId="{97400BD5-14CE-4761-8A6A-64BC46D23158}" destId="{682F4D3A-F129-4AD8-A07B-7F06F695F982}" srcOrd="4" destOrd="0" presId="urn:microsoft.com/office/officeart/2005/8/layout/vList2"/>
    <dgm:cxn modelId="{86A887C3-9AA2-4DF3-A332-3B77F0848AAD}" type="presParOf" srcId="{97400BD5-14CE-4761-8A6A-64BC46D23158}" destId="{7BCEC22F-8D9D-45A0-AA4F-9816AAFE6D03}" srcOrd="5" destOrd="0" presId="urn:microsoft.com/office/officeart/2005/8/layout/vList2"/>
    <dgm:cxn modelId="{24FD4CE3-8AC2-4724-9C01-FF5B71C224C1}" type="presParOf" srcId="{97400BD5-14CE-4761-8A6A-64BC46D23158}" destId="{CFAAB923-0A67-45D9-BB26-5D5037C1BD28}" srcOrd="6" destOrd="0" presId="urn:microsoft.com/office/officeart/2005/8/layout/vList2"/>
    <dgm:cxn modelId="{30FF31EB-0AD6-40BA-88CC-D93174B730C2}" type="presParOf" srcId="{97400BD5-14CE-4761-8A6A-64BC46D23158}" destId="{15A1B76A-0A7E-4B8E-A689-09C39E29719D}" srcOrd="7" destOrd="0" presId="urn:microsoft.com/office/officeart/2005/8/layout/vList2"/>
    <dgm:cxn modelId="{6EDBA40E-107E-4B0D-9255-E01FBEB0F69E}" type="presParOf" srcId="{97400BD5-14CE-4761-8A6A-64BC46D23158}" destId="{FB500A59-BA24-48C3-956B-D338A64B25A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86EB11C7-8E35-496E-8BBA-B5FE5C2DA87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BDBDA80-DB95-497B-8068-BB546AD49364}">
      <dgm:prSet/>
      <dgm:spPr/>
      <dgm:t>
        <a:bodyPr/>
        <a:lstStyle/>
        <a:p>
          <a:pPr>
            <a:lnSpc>
              <a:spcPct val="100000"/>
            </a:lnSpc>
          </a:pPr>
          <a:r>
            <a:rPr lang="en-US" b="0"/>
            <a:t>Intelligent Query Processing (2019)</a:t>
          </a:r>
        </a:p>
      </dgm:t>
    </dgm:pt>
    <dgm:pt modelId="{8A9064D7-5B0E-466F-B415-6619685C29BE}" type="parTrans" cxnId="{441C97A2-845A-439D-A640-D404E23AA783}">
      <dgm:prSet/>
      <dgm:spPr/>
      <dgm:t>
        <a:bodyPr/>
        <a:lstStyle/>
        <a:p>
          <a:endParaRPr lang="en-US"/>
        </a:p>
      </dgm:t>
    </dgm:pt>
    <dgm:pt modelId="{49EE1B11-F80C-4C91-BD6F-544BB55D79A2}" type="sibTrans" cxnId="{441C97A2-845A-439D-A640-D404E23AA783}">
      <dgm:prSet/>
      <dgm:spPr/>
      <dgm:t>
        <a:bodyPr/>
        <a:lstStyle/>
        <a:p>
          <a:endParaRPr lang="en-US"/>
        </a:p>
      </dgm:t>
    </dgm:pt>
    <dgm:pt modelId="{4798BF4A-4B5C-42B7-BF1C-495465BB8F2A}">
      <dgm:prSet/>
      <dgm:spPr/>
      <dgm:t>
        <a:bodyPr/>
        <a:lstStyle/>
        <a:p>
          <a:pPr>
            <a:lnSpc>
              <a:spcPct val="100000"/>
            </a:lnSpc>
          </a:pPr>
          <a:r>
            <a:rPr lang="en-US" b="0"/>
            <a:t>Adaptive Query Processing (2017)</a:t>
          </a:r>
        </a:p>
      </dgm:t>
    </dgm:pt>
    <dgm:pt modelId="{4AEE2964-4314-4AEC-8D0B-B57F29FF895D}" type="parTrans" cxnId="{A385A0C9-D5D3-44AF-A7EF-4DD8B441CCA7}">
      <dgm:prSet/>
      <dgm:spPr/>
      <dgm:t>
        <a:bodyPr/>
        <a:lstStyle/>
        <a:p>
          <a:endParaRPr lang="en-US"/>
        </a:p>
      </dgm:t>
    </dgm:pt>
    <dgm:pt modelId="{C8042726-7EC9-4192-8622-198304CF0D14}" type="sibTrans" cxnId="{A385A0C9-D5D3-44AF-A7EF-4DD8B441CCA7}">
      <dgm:prSet/>
      <dgm:spPr/>
      <dgm:t>
        <a:bodyPr/>
        <a:lstStyle/>
        <a:p>
          <a:endParaRPr lang="en-US"/>
        </a:p>
      </dgm:t>
    </dgm:pt>
    <dgm:pt modelId="{DA36808D-214D-4712-9CA5-5BBCF19CFF03}">
      <dgm:prSet/>
      <dgm:spPr/>
      <dgm:t>
        <a:bodyPr/>
        <a:lstStyle/>
        <a:p>
          <a:pPr>
            <a:lnSpc>
              <a:spcPct val="100000"/>
            </a:lnSpc>
          </a:pPr>
          <a:r>
            <a:rPr lang="en-US" b="0" dirty="0"/>
            <a:t>New Features of IQP (2022)</a:t>
          </a:r>
        </a:p>
      </dgm:t>
    </dgm:pt>
    <dgm:pt modelId="{9BAC6198-FD89-443F-B9E4-973C85421C4E}" type="parTrans" cxnId="{CB942401-5078-4DE5-A34C-07D8C2494A19}">
      <dgm:prSet/>
      <dgm:spPr/>
      <dgm:t>
        <a:bodyPr/>
        <a:lstStyle/>
        <a:p>
          <a:endParaRPr lang="en-US"/>
        </a:p>
      </dgm:t>
    </dgm:pt>
    <dgm:pt modelId="{EC4A3A85-3C42-44ED-B4AD-28D3F79046B3}" type="sibTrans" cxnId="{CB942401-5078-4DE5-A34C-07D8C2494A19}">
      <dgm:prSet/>
      <dgm:spPr/>
      <dgm:t>
        <a:bodyPr/>
        <a:lstStyle/>
        <a:p>
          <a:endParaRPr lang="en-US"/>
        </a:p>
      </dgm:t>
    </dgm:pt>
    <dgm:pt modelId="{42C5CA24-8AD0-4F04-9AC3-F8BE239374EF}" type="pres">
      <dgm:prSet presAssocID="{86EB11C7-8E35-496E-8BBA-B5FE5C2DA876}" presName="root" presStyleCnt="0">
        <dgm:presLayoutVars>
          <dgm:dir/>
          <dgm:resizeHandles val="exact"/>
        </dgm:presLayoutVars>
      </dgm:prSet>
      <dgm:spPr/>
    </dgm:pt>
    <dgm:pt modelId="{DD62371A-31ED-48C9-A71E-80C110EA367D}" type="pres">
      <dgm:prSet presAssocID="{4798BF4A-4B5C-42B7-BF1C-495465BB8F2A}" presName="compNode" presStyleCnt="0"/>
      <dgm:spPr/>
    </dgm:pt>
    <dgm:pt modelId="{6219270F-602D-4E71-A25D-9E7371082AA0}" type="pres">
      <dgm:prSet presAssocID="{4798BF4A-4B5C-42B7-BF1C-495465BB8F2A}" presName="bgRect" presStyleLbl="bgShp" presStyleIdx="0" presStyleCnt="3"/>
      <dgm:spPr/>
    </dgm:pt>
    <dgm:pt modelId="{6749A655-52C5-4CF7-BB3C-25297FBA263C}" type="pres">
      <dgm:prSet presAssocID="{4798BF4A-4B5C-42B7-BF1C-495465BB8F2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bot"/>
        </a:ext>
      </dgm:extLst>
    </dgm:pt>
    <dgm:pt modelId="{17139FC4-2D1E-4E1A-AAB8-C32B1FBA15D3}" type="pres">
      <dgm:prSet presAssocID="{4798BF4A-4B5C-42B7-BF1C-495465BB8F2A}" presName="spaceRect" presStyleCnt="0"/>
      <dgm:spPr/>
    </dgm:pt>
    <dgm:pt modelId="{2D1BCA7F-B15E-4010-A026-CEC091634249}" type="pres">
      <dgm:prSet presAssocID="{4798BF4A-4B5C-42B7-BF1C-495465BB8F2A}" presName="parTx" presStyleLbl="revTx" presStyleIdx="0" presStyleCnt="3">
        <dgm:presLayoutVars>
          <dgm:chMax val="0"/>
          <dgm:chPref val="0"/>
        </dgm:presLayoutVars>
      </dgm:prSet>
      <dgm:spPr/>
    </dgm:pt>
    <dgm:pt modelId="{3D853281-9E90-4811-ADF7-16EAED217E4D}" type="pres">
      <dgm:prSet presAssocID="{C8042726-7EC9-4192-8622-198304CF0D14}" presName="sibTrans" presStyleCnt="0"/>
      <dgm:spPr/>
    </dgm:pt>
    <dgm:pt modelId="{C65CB33A-D4E7-4851-B6F8-E113AB7C4B89}" type="pres">
      <dgm:prSet presAssocID="{6BDBDA80-DB95-497B-8068-BB546AD49364}" presName="compNode" presStyleCnt="0"/>
      <dgm:spPr/>
    </dgm:pt>
    <dgm:pt modelId="{098E2AA6-0642-4D63-B364-2AFF9CB1FFC6}" type="pres">
      <dgm:prSet presAssocID="{6BDBDA80-DB95-497B-8068-BB546AD49364}" presName="bgRect" presStyleLbl="bgShp" presStyleIdx="1" presStyleCnt="3"/>
      <dgm:spPr/>
    </dgm:pt>
    <dgm:pt modelId="{227B081C-35B3-413F-A2D9-8E6378AD9C49}" type="pres">
      <dgm:prSet presAssocID="{6BDBDA80-DB95-497B-8068-BB546AD4936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82E8D7F0-BD52-4347-BB45-A993F6B8937D}" type="pres">
      <dgm:prSet presAssocID="{6BDBDA80-DB95-497B-8068-BB546AD49364}" presName="spaceRect" presStyleCnt="0"/>
      <dgm:spPr/>
    </dgm:pt>
    <dgm:pt modelId="{CF84DBA8-8605-4878-AAA5-90953141E1A7}" type="pres">
      <dgm:prSet presAssocID="{6BDBDA80-DB95-497B-8068-BB546AD49364}" presName="parTx" presStyleLbl="revTx" presStyleIdx="1" presStyleCnt="3">
        <dgm:presLayoutVars>
          <dgm:chMax val="0"/>
          <dgm:chPref val="0"/>
        </dgm:presLayoutVars>
      </dgm:prSet>
      <dgm:spPr/>
    </dgm:pt>
    <dgm:pt modelId="{DFDFBB2A-AF3E-4E3D-8A98-87E3CC295086}" type="pres">
      <dgm:prSet presAssocID="{49EE1B11-F80C-4C91-BD6F-544BB55D79A2}" presName="sibTrans" presStyleCnt="0"/>
      <dgm:spPr/>
    </dgm:pt>
    <dgm:pt modelId="{EB53C6FF-5FC6-4427-8483-9B65AF3BDE41}" type="pres">
      <dgm:prSet presAssocID="{DA36808D-214D-4712-9CA5-5BBCF19CFF03}" presName="compNode" presStyleCnt="0"/>
      <dgm:spPr/>
    </dgm:pt>
    <dgm:pt modelId="{E514E16A-E2B6-4326-A906-DEF82027DFAE}" type="pres">
      <dgm:prSet presAssocID="{DA36808D-214D-4712-9CA5-5BBCF19CFF03}" presName="bgRect" presStyleLbl="bgShp" presStyleIdx="2" presStyleCnt="3"/>
      <dgm:spPr/>
    </dgm:pt>
    <dgm:pt modelId="{4E07F6A4-A399-45D6-B4A4-8F274413FA9A}" type="pres">
      <dgm:prSet presAssocID="{DA36808D-214D-4712-9CA5-5BBCF19CFF0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irecracker"/>
        </a:ext>
      </dgm:extLst>
    </dgm:pt>
    <dgm:pt modelId="{165B55DF-06A4-4C77-9DB8-CB56DB6AC6BE}" type="pres">
      <dgm:prSet presAssocID="{DA36808D-214D-4712-9CA5-5BBCF19CFF03}" presName="spaceRect" presStyleCnt="0"/>
      <dgm:spPr/>
    </dgm:pt>
    <dgm:pt modelId="{C5B4B628-7A6C-4977-9F15-5A8F24006128}" type="pres">
      <dgm:prSet presAssocID="{DA36808D-214D-4712-9CA5-5BBCF19CFF03}" presName="parTx" presStyleLbl="revTx" presStyleIdx="2" presStyleCnt="3">
        <dgm:presLayoutVars>
          <dgm:chMax val="0"/>
          <dgm:chPref val="0"/>
        </dgm:presLayoutVars>
      </dgm:prSet>
      <dgm:spPr/>
    </dgm:pt>
  </dgm:ptLst>
  <dgm:cxnLst>
    <dgm:cxn modelId="{CB942401-5078-4DE5-A34C-07D8C2494A19}" srcId="{86EB11C7-8E35-496E-8BBA-B5FE5C2DA876}" destId="{DA36808D-214D-4712-9CA5-5BBCF19CFF03}" srcOrd="2" destOrd="0" parTransId="{9BAC6198-FD89-443F-B9E4-973C85421C4E}" sibTransId="{EC4A3A85-3C42-44ED-B4AD-28D3F79046B3}"/>
    <dgm:cxn modelId="{3D9B885C-9DA1-4EEF-AE90-A0C4FACAE913}" type="presOf" srcId="{86EB11C7-8E35-496E-8BBA-B5FE5C2DA876}" destId="{42C5CA24-8AD0-4F04-9AC3-F8BE239374EF}" srcOrd="0" destOrd="0" presId="urn:microsoft.com/office/officeart/2018/2/layout/IconVerticalSolidList"/>
    <dgm:cxn modelId="{370A836A-E37C-4AEE-9482-9B6769EC0DD2}" type="presOf" srcId="{DA36808D-214D-4712-9CA5-5BBCF19CFF03}" destId="{C5B4B628-7A6C-4977-9F15-5A8F24006128}" srcOrd="0" destOrd="0" presId="urn:microsoft.com/office/officeart/2018/2/layout/IconVerticalSolidList"/>
    <dgm:cxn modelId="{5FA94876-4629-491C-8BCA-B89CAB0B3F54}" type="presOf" srcId="{6BDBDA80-DB95-497B-8068-BB546AD49364}" destId="{CF84DBA8-8605-4878-AAA5-90953141E1A7}" srcOrd="0" destOrd="0" presId="urn:microsoft.com/office/officeart/2018/2/layout/IconVerticalSolidList"/>
    <dgm:cxn modelId="{93306B86-F8B8-4BA4-829E-06D7B71AB43A}" type="presOf" srcId="{4798BF4A-4B5C-42B7-BF1C-495465BB8F2A}" destId="{2D1BCA7F-B15E-4010-A026-CEC091634249}" srcOrd="0" destOrd="0" presId="urn:microsoft.com/office/officeart/2018/2/layout/IconVerticalSolidList"/>
    <dgm:cxn modelId="{441C97A2-845A-439D-A640-D404E23AA783}" srcId="{86EB11C7-8E35-496E-8BBA-B5FE5C2DA876}" destId="{6BDBDA80-DB95-497B-8068-BB546AD49364}" srcOrd="1" destOrd="0" parTransId="{8A9064D7-5B0E-466F-B415-6619685C29BE}" sibTransId="{49EE1B11-F80C-4C91-BD6F-544BB55D79A2}"/>
    <dgm:cxn modelId="{A385A0C9-D5D3-44AF-A7EF-4DD8B441CCA7}" srcId="{86EB11C7-8E35-496E-8BBA-B5FE5C2DA876}" destId="{4798BF4A-4B5C-42B7-BF1C-495465BB8F2A}" srcOrd="0" destOrd="0" parTransId="{4AEE2964-4314-4AEC-8D0B-B57F29FF895D}" sibTransId="{C8042726-7EC9-4192-8622-198304CF0D14}"/>
    <dgm:cxn modelId="{64C9DB7F-C678-4800-99AF-1200586105BE}" type="presParOf" srcId="{42C5CA24-8AD0-4F04-9AC3-F8BE239374EF}" destId="{DD62371A-31ED-48C9-A71E-80C110EA367D}" srcOrd="0" destOrd="0" presId="urn:microsoft.com/office/officeart/2018/2/layout/IconVerticalSolidList"/>
    <dgm:cxn modelId="{2CA76ACB-C7D1-4ADF-AB32-58AFBA4BA49D}" type="presParOf" srcId="{DD62371A-31ED-48C9-A71E-80C110EA367D}" destId="{6219270F-602D-4E71-A25D-9E7371082AA0}" srcOrd="0" destOrd="0" presId="urn:microsoft.com/office/officeart/2018/2/layout/IconVerticalSolidList"/>
    <dgm:cxn modelId="{AE26B906-111D-4777-81FC-35A73871FE3D}" type="presParOf" srcId="{DD62371A-31ED-48C9-A71E-80C110EA367D}" destId="{6749A655-52C5-4CF7-BB3C-25297FBA263C}" srcOrd="1" destOrd="0" presId="urn:microsoft.com/office/officeart/2018/2/layout/IconVerticalSolidList"/>
    <dgm:cxn modelId="{6E71D173-CBE7-4C3F-B8C2-F7C653C0D225}" type="presParOf" srcId="{DD62371A-31ED-48C9-A71E-80C110EA367D}" destId="{17139FC4-2D1E-4E1A-AAB8-C32B1FBA15D3}" srcOrd="2" destOrd="0" presId="urn:microsoft.com/office/officeart/2018/2/layout/IconVerticalSolidList"/>
    <dgm:cxn modelId="{C1235D70-00AA-4496-AAC0-837CCF052974}" type="presParOf" srcId="{DD62371A-31ED-48C9-A71E-80C110EA367D}" destId="{2D1BCA7F-B15E-4010-A026-CEC091634249}" srcOrd="3" destOrd="0" presId="urn:microsoft.com/office/officeart/2018/2/layout/IconVerticalSolidList"/>
    <dgm:cxn modelId="{B0A16F43-3ECB-4E86-8F5E-E6BC00E6F4E9}" type="presParOf" srcId="{42C5CA24-8AD0-4F04-9AC3-F8BE239374EF}" destId="{3D853281-9E90-4811-ADF7-16EAED217E4D}" srcOrd="1" destOrd="0" presId="urn:microsoft.com/office/officeart/2018/2/layout/IconVerticalSolidList"/>
    <dgm:cxn modelId="{894974C2-0B02-41CB-BCD4-345E301151F0}" type="presParOf" srcId="{42C5CA24-8AD0-4F04-9AC3-F8BE239374EF}" destId="{C65CB33A-D4E7-4851-B6F8-E113AB7C4B89}" srcOrd="2" destOrd="0" presId="urn:microsoft.com/office/officeart/2018/2/layout/IconVerticalSolidList"/>
    <dgm:cxn modelId="{8AC6815C-3ABF-463C-82A9-8E60C8156779}" type="presParOf" srcId="{C65CB33A-D4E7-4851-B6F8-E113AB7C4B89}" destId="{098E2AA6-0642-4D63-B364-2AFF9CB1FFC6}" srcOrd="0" destOrd="0" presId="urn:microsoft.com/office/officeart/2018/2/layout/IconVerticalSolidList"/>
    <dgm:cxn modelId="{087F2615-9FC9-490D-B11F-7AF1562BB75C}" type="presParOf" srcId="{C65CB33A-D4E7-4851-B6F8-E113AB7C4B89}" destId="{227B081C-35B3-413F-A2D9-8E6378AD9C49}" srcOrd="1" destOrd="0" presId="urn:microsoft.com/office/officeart/2018/2/layout/IconVerticalSolidList"/>
    <dgm:cxn modelId="{478CB105-7C00-4C74-AAF3-B4F2DCEEBA06}" type="presParOf" srcId="{C65CB33A-D4E7-4851-B6F8-E113AB7C4B89}" destId="{82E8D7F0-BD52-4347-BB45-A993F6B8937D}" srcOrd="2" destOrd="0" presId="urn:microsoft.com/office/officeart/2018/2/layout/IconVerticalSolidList"/>
    <dgm:cxn modelId="{6B085068-0F32-485D-AC4A-8BC88050254F}" type="presParOf" srcId="{C65CB33A-D4E7-4851-B6F8-E113AB7C4B89}" destId="{CF84DBA8-8605-4878-AAA5-90953141E1A7}" srcOrd="3" destOrd="0" presId="urn:microsoft.com/office/officeart/2018/2/layout/IconVerticalSolidList"/>
    <dgm:cxn modelId="{EED1B2ED-3911-4678-8774-4C29009134D3}" type="presParOf" srcId="{42C5CA24-8AD0-4F04-9AC3-F8BE239374EF}" destId="{DFDFBB2A-AF3E-4E3D-8A98-87E3CC295086}" srcOrd="3" destOrd="0" presId="urn:microsoft.com/office/officeart/2018/2/layout/IconVerticalSolidList"/>
    <dgm:cxn modelId="{2F80D4C6-F9E2-4932-A192-1098907A07A9}" type="presParOf" srcId="{42C5CA24-8AD0-4F04-9AC3-F8BE239374EF}" destId="{EB53C6FF-5FC6-4427-8483-9B65AF3BDE41}" srcOrd="4" destOrd="0" presId="urn:microsoft.com/office/officeart/2018/2/layout/IconVerticalSolidList"/>
    <dgm:cxn modelId="{E95325B8-73FB-4F58-9159-6198A9CC4EA6}" type="presParOf" srcId="{EB53C6FF-5FC6-4427-8483-9B65AF3BDE41}" destId="{E514E16A-E2B6-4326-A906-DEF82027DFAE}" srcOrd="0" destOrd="0" presId="urn:microsoft.com/office/officeart/2018/2/layout/IconVerticalSolidList"/>
    <dgm:cxn modelId="{9B969718-A642-4A1A-984C-DA7F9E419551}" type="presParOf" srcId="{EB53C6FF-5FC6-4427-8483-9B65AF3BDE41}" destId="{4E07F6A4-A399-45D6-B4A4-8F274413FA9A}" srcOrd="1" destOrd="0" presId="urn:microsoft.com/office/officeart/2018/2/layout/IconVerticalSolidList"/>
    <dgm:cxn modelId="{1973B722-C563-4C4C-AC22-0B82EF6CBB95}" type="presParOf" srcId="{EB53C6FF-5FC6-4427-8483-9B65AF3BDE41}" destId="{165B55DF-06A4-4C77-9DB8-CB56DB6AC6BE}" srcOrd="2" destOrd="0" presId="urn:microsoft.com/office/officeart/2018/2/layout/IconVerticalSolidList"/>
    <dgm:cxn modelId="{6A914271-8F09-4B4E-B61B-111E7804A6B7}" type="presParOf" srcId="{EB53C6FF-5FC6-4427-8483-9B65AF3BDE41}" destId="{C5B4B628-7A6C-4977-9F15-5A8F2400612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0_3" csCatId="mainScheme"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colorful2" csCatId="colorful"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custT="1"/>
      <dgm:spPr/>
      <dgm: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custT="1"/>
      <dgm:spPr>
        <a:solidFill>
          <a:srgbClr val="0067B8"/>
        </a:solidFill>
      </dgm:spPr>
      <dgm:t>
        <a:bodyPr spcFirstLastPara="0" vert="horz" wrap="square" lIns="83820" tIns="83820" rIns="83820" bIns="83820" numCol="1" spcCol="1270" anchor="ctr" anchorCtr="0"/>
        <a:lstStyle/>
        <a:p>
          <a:r>
            <a:rPr lang="en-US" sz="1800" kern="1200">
              <a:latin typeface="Segoe UI"/>
              <a:ea typeface="+mn-ea"/>
              <a:cs typeface="+mn-cs"/>
            </a:rPr>
            <a:t>Adaptive</a:t>
          </a:r>
          <a:r>
            <a:rPr lang="en-US" sz="1800" kern="1200"/>
            <a:t> Query Processing</a:t>
          </a:r>
          <a:endParaRPr lang="en-US" sz="1800" kern="1200"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accent6">
            <a:lumMod val="90000"/>
            <a:lumOff val="10000"/>
          </a:schemeClr>
        </a:solidFill>
      </dgm:spPr>
      <dgm:t>
        <a:bodyPr/>
        <a:lstStyle/>
        <a:p>
          <a:r>
            <a:rPr lang="en-US" dirty="0"/>
            <a:t>Row Mod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E8170A24-B9D6-476C-BA9B-520B6C6C80D7}" type="pres">
      <dgm:prSet presAssocID="{6E762228-84FE-45B2-9BB6-19E98A9BB7EA}" presName="mainComposite" presStyleCnt="0">
        <dgm:presLayoutVars>
          <dgm:chPref val="1"/>
          <dgm:dir/>
          <dgm:animOne val="branch"/>
          <dgm:animLvl val="lvl"/>
          <dgm:resizeHandles val="exact"/>
        </dgm:presLayoutVars>
      </dgm:prSet>
      <dgm:spPr/>
    </dgm:pt>
    <dgm:pt modelId="{F2FCA989-3E42-4776-8AF8-9616728FBFE7}" type="pres">
      <dgm:prSet presAssocID="{6E762228-84FE-45B2-9BB6-19E98A9BB7EA}" presName="hierFlow" presStyleCnt="0"/>
      <dgm:spPr/>
    </dgm:pt>
    <dgm:pt modelId="{A49C018D-69F1-4891-98A5-06185D96B375}" type="pres">
      <dgm:prSet presAssocID="{6E762228-84FE-45B2-9BB6-19E98A9BB7EA}" presName="hierChild1" presStyleCnt="0">
        <dgm:presLayoutVars>
          <dgm:chPref val="1"/>
          <dgm:animOne val="branch"/>
          <dgm:animLvl val="lvl"/>
        </dgm:presLayoutVars>
      </dgm:prSet>
      <dgm:spPr/>
    </dgm:pt>
    <dgm:pt modelId="{97FDBDD4-6FD5-4AD0-947F-5F98FB892596}" type="pres">
      <dgm:prSet presAssocID="{EC5624F3-2170-43DC-97A6-A153AC2072F1}" presName="Name14" presStyleCnt="0"/>
      <dgm:spPr/>
    </dgm:pt>
    <dgm:pt modelId="{86E87806-462D-4021-B716-BF30F5397896}" type="pres">
      <dgm:prSet presAssocID="{EC5624F3-2170-43DC-97A6-A153AC2072F1}" presName="level1Shape" presStyleLbl="node0" presStyleIdx="0" presStyleCnt="1">
        <dgm:presLayoutVars>
          <dgm:chPref val="3"/>
        </dgm:presLayoutVars>
      </dgm:prSet>
      <dgm:spPr/>
    </dgm:pt>
    <dgm:pt modelId="{35A5E084-5147-4B3A-8F0F-A7B1A9D14AFD}" type="pres">
      <dgm:prSet presAssocID="{EC5624F3-2170-43DC-97A6-A153AC2072F1}" presName="hierChild2" presStyleCnt="0"/>
      <dgm:spPr/>
    </dgm:pt>
    <dgm:pt modelId="{C113824A-7555-4C87-B2BE-96501C624C75}" type="pres">
      <dgm:prSet presAssocID="{DAF4A804-FF79-40DF-805D-58E5C402C862}" presName="Name19" presStyleLbl="parChTrans1D2" presStyleIdx="0" presStyleCnt="5"/>
      <dgm:spPr/>
    </dgm:pt>
    <dgm:pt modelId="{BE067252-2D3F-4DA7-A3B0-0271DCAC7ACE}" type="pres">
      <dgm:prSet presAssocID="{2787F9B9-D9EE-40F6-ABD4-C13F268A8AF1}" presName="Name21" presStyleCnt="0"/>
      <dgm:spPr/>
    </dgm:pt>
    <dgm:pt modelId="{9C2DE11F-DF23-4919-B7BD-27DB31DE2417}" type="pres">
      <dgm:prSet presAssocID="{2787F9B9-D9EE-40F6-ABD4-C13F268A8AF1}" presName="level2Shape" presStyleLbl="node2" presStyleIdx="0" presStyleCnt="1"/>
      <dgm:spPr/>
    </dgm:pt>
    <dgm:pt modelId="{FCBDAC34-405F-4217-ADFF-FC1763628357}" type="pres">
      <dgm:prSet presAssocID="{2787F9B9-D9EE-40F6-ABD4-C13F268A8AF1}" presName="hierChild3" presStyleCnt="0"/>
      <dgm:spPr/>
    </dgm:pt>
    <dgm:pt modelId="{4115379B-A779-422E-A95E-5CC6ACAD24AA}" type="pres">
      <dgm:prSet presAssocID="{9D361AED-F287-426D-889C-035A581FCAD4}" presName="Name19" presStyleLbl="parChTrans1D3" presStyleIdx="0" presStyleCnt="4"/>
      <dgm:spPr/>
    </dgm:pt>
    <dgm:pt modelId="{7670C453-7839-468B-A113-74880D3B7B6C}" type="pres">
      <dgm:prSet presAssocID="{D84DD7AB-A1C4-4A77-B583-CCF2DADB3362}" presName="Name21" presStyleCnt="0"/>
      <dgm:spPr/>
    </dgm:pt>
    <dgm:pt modelId="{5C1096D5-40FF-4B10-8A2F-3BFE55DC37C4}" type="pres">
      <dgm:prSet presAssocID="{D84DD7AB-A1C4-4A77-B583-CCF2DADB3362}" presName="level2Shape" presStyleLbl="asst2" presStyleIdx="0" presStyleCnt="5"/>
      <dgm:spPr/>
    </dgm:pt>
    <dgm:pt modelId="{728FB85B-7598-4222-9286-E746AC9F803C}" type="pres">
      <dgm:prSet presAssocID="{D84DD7AB-A1C4-4A77-B583-CCF2DADB3362}" presName="hierChild3" presStyleCnt="0"/>
      <dgm:spPr/>
    </dgm:pt>
    <dgm:pt modelId="{D1F2B48B-0A17-4BA4-BB35-4F83AF68E8C0}" type="pres">
      <dgm:prSet presAssocID="{69703607-1CEF-4962-A22B-C8239D13F2F4}" presName="Name19" presStyleLbl="parChTrans1D3" presStyleIdx="1" presStyleCnt="4"/>
      <dgm:spPr/>
    </dgm:pt>
    <dgm:pt modelId="{E09DD12C-7A15-4B54-98B1-F2D0F1C89BEE}" type="pres">
      <dgm:prSet presAssocID="{8277FB8B-9D39-4CC5-BDEC-D3827308642F}" presName="Name21" presStyleCnt="0"/>
      <dgm:spPr/>
    </dgm:pt>
    <dgm:pt modelId="{5FEBEBC5-9607-4B49-82F6-220A5A82DCA3}" type="pres">
      <dgm:prSet presAssocID="{8277FB8B-9D39-4CC5-BDEC-D3827308642F}" presName="level2Shape" presStyleLbl="asst2" presStyleIdx="1" presStyleCnt="5"/>
      <dgm:spPr/>
    </dgm:pt>
    <dgm:pt modelId="{AA3EE521-4EE8-41AC-935D-19491E82AC10}" type="pres">
      <dgm:prSet presAssocID="{8277FB8B-9D39-4CC5-BDEC-D3827308642F}" presName="hierChild3" presStyleCnt="0"/>
      <dgm:spPr/>
    </dgm:pt>
    <dgm:pt modelId="{97D1A4A4-C0EF-44EB-9149-CF3BC8359F9D}" type="pres">
      <dgm:prSet presAssocID="{3A2A32F0-C73D-42A0-BA11-AFA02ABE79C2}" presName="Name19" presStyleLbl="parChTrans1D3" presStyleIdx="2" presStyleCnt="4"/>
      <dgm:spPr/>
    </dgm:pt>
    <dgm:pt modelId="{A62B8DCA-FDEF-400D-9111-E375DED77B61}" type="pres">
      <dgm:prSet presAssocID="{FE5A3D51-3C08-4DB9-99E3-39C94436AA5B}" presName="Name21" presStyleCnt="0"/>
      <dgm:spPr/>
    </dgm:pt>
    <dgm:pt modelId="{633CAE10-57CD-44C7-A6F5-8B3093CB8B4D}" type="pres">
      <dgm:prSet presAssocID="{FE5A3D51-3C08-4DB9-99E3-39C94436AA5B}" presName="level2Shape" presStyleLbl="asst2" presStyleIdx="2" presStyleCnt="5"/>
      <dgm:spPr/>
    </dgm:pt>
    <dgm:pt modelId="{6CD75E5F-24F5-4BDC-A063-865AF99C7E79}" type="pres">
      <dgm:prSet presAssocID="{FE5A3D51-3C08-4DB9-99E3-39C94436AA5B}" presName="hierChild3" presStyleCnt="0"/>
      <dgm:spPr/>
    </dgm:pt>
    <dgm:pt modelId="{655625AB-1A89-405F-AA45-2F7986065705}" type="pres">
      <dgm:prSet presAssocID="{B2937768-267F-4FD0-B209-ADCABB3F2609}" presName="Name19" presStyleLbl="parChTrans1D4" presStyleIdx="0" presStyleCnt="2"/>
      <dgm:spPr/>
    </dgm:pt>
    <dgm:pt modelId="{C889BB32-4366-4F1D-8ED4-077CB0D20F8B}" type="pres">
      <dgm:prSet presAssocID="{270DB351-209F-44E3-AE5D-DD3AA05A8175}" presName="Name21" presStyleCnt="0"/>
      <dgm:spPr/>
    </dgm:pt>
    <dgm:pt modelId="{CDA9A297-F1DB-4AC2-A226-3911EBB63085}" type="pres">
      <dgm:prSet presAssocID="{270DB351-209F-44E3-AE5D-DD3AA05A8175}" presName="level2Shape" presStyleLbl="asst2" presStyleIdx="3" presStyleCnt="5"/>
      <dgm:spPr/>
    </dgm:pt>
    <dgm:pt modelId="{85138902-6588-4476-A857-3EAC5CACB1B0}" type="pres">
      <dgm:prSet presAssocID="{270DB351-209F-44E3-AE5D-DD3AA05A8175}" presName="hierChild3" presStyleCnt="0"/>
      <dgm:spPr/>
    </dgm:pt>
    <dgm:pt modelId="{DD7723A2-260C-4955-B459-56D3F5ABEA3B}" type="pres">
      <dgm:prSet presAssocID="{FAA45A8D-079A-4FAC-87D1-08D72268764D}" presName="Name19" presStyleLbl="parChTrans1D4" presStyleIdx="1" presStyleCnt="2"/>
      <dgm:spPr/>
    </dgm:pt>
    <dgm:pt modelId="{6FBFB85D-F9F3-435C-A1A0-A96CAD890558}" type="pres">
      <dgm:prSet presAssocID="{5261F5C2-903F-4994-916A-72A90DAE7F2D}" presName="Name21" presStyleCnt="0"/>
      <dgm:spPr/>
    </dgm:pt>
    <dgm:pt modelId="{DE80A589-182F-4742-80CF-A33672F8C4E6}" type="pres">
      <dgm:prSet presAssocID="{5261F5C2-903F-4994-916A-72A90DAE7F2D}" presName="level2Shape" presStyleLbl="asst2" presStyleIdx="4" presStyleCnt="5"/>
      <dgm:spPr/>
    </dgm:pt>
    <dgm:pt modelId="{DE5A2E03-3D9E-4DCD-B510-BA6062663A92}" type="pres">
      <dgm:prSet presAssocID="{5261F5C2-903F-4994-916A-72A90DAE7F2D}" presName="hierChild3" presStyleCnt="0"/>
      <dgm:spPr/>
    </dgm:pt>
    <dgm:pt modelId="{938EAEDA-47DA-48E8-862A-99782042FB38}" type="pres">
      <dgm:prSet presAssocID="{7E8BFC1C-609E-4A2A-A6DE-56B66744C355}" presName="Name19" presStyleLbl="parChTrans1D2" presStyleIdx="1" presStyleCnt="5"/>
      <dgm:spPr/>
    </dgm:pt>
    <dgm:pt modelId="{FADCA795-13D0-4FCD-8F67-08FE05405CCA}" type="pres">
      <dgm:prSet presAssocID="{1E81E9B4-AC06-47E2-948F-7FF9370400A3}" presName="Name21" presStyleCnt="0"/>
      <dgm:spPr/>
    </dgm:pt>
    <dgm:pt modelId="{4FF1563B-4F2E-40CA-B265-9087B388CBDB}" type="pres">
      <dgm:prSet presAssocID="{1E81E9B4-AC06-47E2-948F-7FF9370400A3}" presName="level2Shape" presStyleLbl="asst1" presStyleIdx="0" presStyleCnt="5"/>
      <dgm:spPr/>
    </dgm:pt>
    <dgm:pt modelId="{965D8782-1D34-4E51-A21E-C116C8805118}" type="pres">
      <dgm:prSet presAssocID="{1E81E9B4-AC06-47E2-948F-7FF9370400A3}" presName="hierChild3" presStyleCnt="0"/>
      <dgm:spPr/>
    </dgm:pt>
    <dgm:pt modelId="{A20BD15A-FC61-455A-A3A7-7D3D2257CA05}" type="pres">
      <dgm:prSet presAssocID="{7CC9B32C-12C5-4169-B087-595C8A48B4F8}" presName="Name19" presStyleLbl="parChTrans1D2" presStyleIdx="2" presStyleCnt="5"/>
      <dgm:spPr/>
    </dgm:pt>
    <dgm:pt modelId="{ADBCD91E-50E9-41C5-83E8-78009C8E2108}" type="pres">
      <dgm:prSet presAssocID="{0D417D08-4FBF-4067-AE00-49AC555E0C5B}" presName="Name21" presStyleCnt="0"/>
      <dgm:spPr/>
    </dgm:pt>
    <dgm:pt modelId="{05B25B66-598F-4D54-8C9F-7AFDDFC6B1ED}" type="pres">
      <dgm:prSet presAssocID="{0D417D08-4FBF-4067-AE00-49AC555E0C5B}" presName="level2Shape" presStyleLbl="asst1" presStyleIdx="1" presStyleCnt="5"/>
      <dgm:spPr/>
    </dgm:pt>
    <dgm:pt modelId="{4D7353D5-7A6E-452E-950E-0286C2A06A69}" type="pres">
      <dgm:prSet presAssocID="{0D417D08-4FBF-4067-AE00-49AC555E0C5B}" presName="hierChild3" presStyleCnt="0"/>
      <dgm:spPr/>
    </dgm:pt>
    <dgm:pt modelId="{A5BF4C9F-9F6E-44C2-BF74-4AA3CF8B6EA3}" type="pres">
      <dgm:prSet presAssocID="{668AD6B7-A78E-4D72-8B81-3A80DF104F05}" presName="Name19" presStyleLbl="parChTrans1D2" presStyleIdx="3" presStyleCnt="5"/>
      <dgm:spPr/>
    </dgm:pt>
    <dgm:pt modelId="{0D921B9B-F7CC-474C-BB35-89DDE02292EC}" type="pres">
      <dgm:prSet presAssocID="{8C0F6B1E-99DD-484F-9CBB-9F88518A86B5}" presName="Name21" presStyleCnt="0"/>
      <dgm:spPr/>
    </dgm:pt>
    <dgm:pt modelId="{4DC6A647-2E75-4952-9A97-22DE6DC72A3B}" type="pres">
      <dgm:prSet presAssocID="{8C0F6B1E-99DD-484F-9CBB-9F88518A86B5}" presName="level2Shape" presStyleLbl="asst1" presStyleIdx="2" presStyleCnt="5"/>
      <dgm:spPr/>
    </dgm:pt>
    <dgm:pt modelId="{E2A55096-9617-40F7-BD27-6850E15DB13C}" type="pres">
      <dgm:prSet presAssocID="{8C0F6B1E-99DD-484F-9CBB-9F88518A86B5}" presName="hierChild3" presStyleCnt="0"/>
      <dgm:spPr/>
    </dgm:pt>
    <dgm:pt modelId="{D1190639-E1D7-45CC-B7E2-C916949E7C08}" type="pres">
      <dgm:prSet presAssocID="{8258E7A2-05F2-49E4-B3A6-F4702FB05F8A}" presName="Name19" presStyleLbl="parChTrans1D2" presStyleIdx="4" presStyleCnt="5"/>
      <dgm:spPr/>
    </dgm:pt>
    <dgm:pt modelId="{85798EDA-4437-482B-909E-F9FBC8A8E8AE}" type="pres">
      <dgm:prSet presAssocID="{DDFC3CEC-231C-49DE-8234-5A81205F633E}" presName="Name21" presStyleCnt="0"/>
      <dgm:spPr/>
    </dgm:pt>
    <dgm:pt modelId="{569C66CB-3F6B-42EC-9113-3D4FFCF79B08}" type="pres">
      <dgm:prSet presAssocID="{DDFC3CEC-231C-49DE-8234-5A81205F633E}" presName="level2Shape" presStyleLbl="asst1" presStyleIdx="3" presStyleCnt="5"/>
      <dgm:spPr/>
    </dgm:pt>
    <dgm:pt modelId="{1077A3F9-F928-4BF7-9EDA-A361324AE1E3}" type="pres">
      <dgm:prSet presAssocID="{DDFC3CEC-231C-49DE-8234-5A81205F633E}" presName="hierChild3" presStyleCnt="0"/>
      <dgm:spPr/>
    </dgm:pt>
    <dgm:pt modelId="{DAD2A4AA-A5CA-4842-8067-1769180E32DF}" type="pres">
      <dgm:prSet presAssocID="{4370DAB5-C489-492C-A122-928E36298688}" presName="Name19" presStyleLbl="parChTrans1D3" presStyleIdx="3" presStyleCnt="4"/>
      <dgm:spPr/>
    </dgm:pt>
    <dgm:pt modelId="{B8FF90E2-64A8-4C23-91CD-3CED69411668}" type="pres">
      <dgm:prSet presAssocID="{89E5375A-E5C4-4BAA-9A0A-D04D5C5FDCE1}" presName="Name21" presStyleCnt="0"/>
      <dgm:spPr/>
    </dgm:pt>
    <dgm:pt modelId="{AFE984F1-A788-43FF-B773-6DF3B701FABB}" type="pres">
      <dgm:prSet presAssocID="{89E5375A-E5C4-4BAA-9A0A-D04D5C5FDCE1}" presName="level2Shape" presStyleLbl="asst1" presStyleIdx="4" presStyleCnt="5"/>
      <dgm:spPr/>
    </dgm:pt>
    <dgm:pt modelId="{45B8E6A8-CD47-4451-9DF0-945D0E12DB34}" type="pres">
      <dgm:prSet presAssocID="{89E5375A-E5C4-4BAA-9A0A-D04D5C5FDCE1}" presName="hierChild3" presStyleCnt="0"/>
      <dgm:spPr/>
    </dgm:pt>
    <dgm:pt modelId="{1EEA7A41-C287-4CAC-858C-24BA73578A94}" type="pres">
      <dgm:prSet presAssocID="{6E762228-84FE-45B2-9BB6-19E98A9BB7EA}" presName="bgShapesFlow" presStyleCnt="0"/>
      <dgm:spPr/>
    </dgm:pt>
  </dgm:ptLst>
  <dgm:cxnLst>
    <dgm:cxn modelId="{742FF205-1B4C-462C-ABBD-F2CB88EA006B}" srcId="{FE5A3D51-3C08-4DB9-99E3-39C94436AA5B}" destId="{5261F5C2-903F-4994-916A-72A90DAE7F2D}" srcOrd="1" destOrd="0" parTransId="{FAA45A8D-079A-4FAC-87D1-08D72268764D}" sibTransId="{EC32FA2C-6775-4014-B77E-A93B9C2EAE9C}"/>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3BD78A1C-40AD-40EC-AE7F-013A96EA5666}" type="presOf" srcId="{3A2A32F0-C73D-42A0-BA11-AFA02ABE79C2}" destId="{97D1A4A4-C0EF-44EB-9149-CF3BC8359F9D}" srcOrd="0" destOrd="0" presId="urn:microsoft.com/office/officeart/2005/8/layout/hierarchy6"/>
    <dgm:cxn modelId="{B8617E25-688E-475B-8679-A1D87925804B}" srcId="{EC5624F3-2170-43DC-97A6-A153AC2072F1}" destId="{DDFC3CEC-231C-49DE-8234-5A81205F633E}" srcOrd="4" destOrd="0" parTransId="{8258E7A2-05F2-49E4-B3A6-F4702FB05F8A}" sibTransId="{AFF9EF7A-8DCE-46EC-BFDE-38B86F0B3FAA}"/>
    <dgm:cxn modelId="{D0088D2C-0CB2-493F-99CE-3D2132EFCA95}" type="presOf" srcId="{FAA45A8D-079A-4FAC-87D1-08D72268764D}" destId="{DD7723A2-260C-4955-B459-56D3F5ABEA3B}" srcOrd="0" destOrd="0" presId="urn:microsoft.com/office/officeart/2005/8/layout/hierarchy6"/>
    <dgm:cxn modelId="{394FAC3E-4FA6-469C-8707-4416397EA069}" type="presOf" srcId="{1E81E9B4-AC06-47E2-948F-7FF9370400A3}" destId="{4FF1563B-4F2E-40CA-B265-9087B388CBDB}" srcOrd="0" destOrd="0" presId="urn:microsoft.com/office/officeart/2005/8/layout/hierarchy6"/>
    <dgm:cxn modelId="{380A0E3F-0538-4190-9D6E-0774E3507B76}" type="presOf" srcId="{7E8BFC1C-609E-4A2A-A6DE-56B66744C355}" destId="{938EAEDA-47DA-48E8-862A-99782042FB38}"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E8957443-75EF-4397-9514-C678250FB03F}" type="presOf" srcId="{EC5624F3-2170-43DC-97A6-A153AC2072F1}" destId="{86E87806-462D-4021-B716-BF30F5397896}" srcOrd="0" destOrd="0" presId="urn:microsoft.com/office/officeart/2005/8/layout/hierarchy6"/>
    <dgm:cxn modelId="{BDB7B067-D254-4836-83F0-1C35C321097E}" type="presOf" srcId="{69703607-1CEF-4962-A22B-C8239D13F2F4}" destId="{D1F2B48B-0A17-4BA4-BB35-4F83AF68E8C0}" srcOrd="0" destOrd="0" presId="urn:microsoft.com/office/officeart/2005/8/layout/hierarchy6"/>
    <dgm:cxn modelId="{62114248-8828-4459-8361-359EFE4A7C2D}" type="presOf" srcId="{B2937768-267F-4FD0-B209-ADCABB3F2609}" destId="{655625AB-1A89-405F-AA45-2F7986065705}"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07F83F58-2988-4CE2-B06A-1C146ABEACA6}" type="presOf" srcId="{8277FB8B-9D39-4CC5-BDEC-D3827308642F}" destId="{5FEBEBC5-9607-4B49-82F6-220A5A82DCA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7BDF037F-1DC7-4125-8325-2F7E0F9B12D7}" type="presOf" srcId="{4370DAB5-C489-492C-A122-928E36298688}" destId="{DAD2A4AA-A5CA-4842-8067-1769180E32DF}"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22BCB98F-9162-458A-BD3B-E4FCDAA1407D}" type="presOf" srcId="{DAF4A804-FF79-40DF-805D-58E5C402C862}" destId="{C113824A-7555-4C87-B2BE-96501C624C75}" srcOrd="0" destOrd="0" presId="urn:microsoft.com/office/officeart/2005/8/layout/hierarchy6"/>
    <dgm:cxn modelId="{4D473890-A0C1-4B60-861D-24247FA1E758}" type="presOf" srcId="{6E762228-84FE-45B2-9BB6-19E98A9BB7EA}" destId="{E8170A24-B9D6-476C-BA9B-520B6C6C80D7}" srcOrd="0" destOrd="0" presId="urn:microsoft.com/office/officeart/2005/8/layout/hierarchy6"/>
    <dgm:cxn modelId="{1009FB93-8BA0-4FBE-8483-62637B3DC3BA}" type="presOf" srcId="{5261F5C2-903F-4994-916A-72A90DAE7F2D}" destId="{DE80A589-182F-4742-80CF-A33672F8C4E6}" srcOrd="0" destOrd="0" presId="urn:microsoft.com/office/officeart/2005/8/layout/hierarchy6"/>
    <dgm:cxn modelId="{E9F7B2A0-0D82-4234-8A6E-92A82E7743D7}" type="presOf" srcId="{DDFC3CEC-231C-49DE-8234-5A81205F633E}" destId="{569C66CB-3F6B-42EC-9113-3D4FFCF79B08}" srcOrd="0" destOrd="0" presId="urn:microsoft.com/office/officeart/2005/8/layout/hierarchy6"/>
    <dgm:cxn modelId="{23FED9A0-6A22-447B-84A5-5AC807618593}" type="presOf" srcId="{668AD6B7-A78E-4D72-8B81-3A80DF104F05}" destId="{A5BF4C9F-9F6E-44C2-BF74-4AA3CF8B6EA3}" srcOrd="0" destOrd="0" presId="urn:microsoft.com/office/officeart/2005/8/layout/hierarchy6"/>
    <dgm:cxn modelId="{8145C0A8-5FF9-4056-81CF-3437552EDC6F}" type="presOf" srcId="{270DB351-209F-44E3-AE5D-DD3AA05A8175}" destId="{CDA9A297-F1DB-4AC2-A226-3911EBB63085}" srcOrd="0" destOrd="0" presId="urn:microsoft.com/office/officeart/2005/8/layout/hierarchy6"/>
    <dgm:cxn modelId="{E09999B5-496F-4B77-90F3-F50F5C14C882}" type="presOf" srcId="{7CC9B32C-12C5-4169-B087-595C8A48B4F8}" destId="{A20BD15A-FC61-455A-A3A7-7D3D2257CA05}" srcOrd="0" destOrd="0" presId="urn:microsoft.com/office/officeart/2005/8/layout/hierarchy6"/>
    <dgm:cxn modelId="{14113DC2-3930-4A22-887C-464AD28B9D1E}" type="presOf" srcId="{FE5A3D51-3C08-4DB9-99E3-39C94436AA5B}" destId="{633CAE10-57CD-44C7-A6F5-8B3093CB8B4D}"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1FA9DF-5D2D-452E-9744-8712A86FECA0}" type="presOf" srcId="{0D417D08-4FBF-4067-AE00-49AC555E0C5B}" destId="{05B25B66-598F-4D54-8C9F-7AFDDFC6B1ED}" srcOrd="0" destOrd="0" presId="urn:microsoft.com/office/officeart/2005/8/layout/hierarchy6"/>
    <dgm:cxn modelId="{236129E3-8EC6-4FA3-BD65-034D0E4CC98C}" type="presOf" srcId="{9D361AED-F287-426D-889C-035A581FCAD4}" destId="{4115379B-A779-422E-A95E-5CC6ACAD24AA}"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51D116F1-9D65-469F-9097-6CE32FF47803}" type="presOf" srcId="{89E5375A-E5C4-4BAA-9A0A-D04D5C5FDCE1}" destId="{AFE984F1-A788-43FF-B773-6DF3B701FABB}" srcOrd="0" destOrd="0" presId="urn:microsoft.com/office/officeart/2005/8/layout/hierarchy6"/>
    <dgm:cxn modelId="{105913F2-4CB3-4A2A-BC3A-FE248B96E859}" type="presOf" srcId="{D84DD7AB-A1C4-4A77-B583-CCF2DADB3362}" destId="{5C1096D5-40FF-4B10-8A2F-3BFE55DC37C4}"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5FE4CAF7-F2D0-4204-BE66-BF6798722103}" type="presOf" srcId="{8C0F6B1E-99DD-484F-9CBB-9F88518A86B5}" destId="{4DC6A647-2E75-4952-9A97-22DE6DC72A3B}" srcOrd="0" destOrd="0" presId="urn:microsoft.com/office/officeart/2005/8/layout/hierarchy6"/>
    <dgm:cxn modelId="{643CE7F9-BE2B-4EBD-AB9A-51A288FF8965}" type="presOf" srcId="{2787F9B9-D9EE-40F6-ABD4-C13F268A8AF1}" destId="{9C2DE11F-DF23-4919-B7BD-27DB31DE2417}" srcOrd="0" destOrd="0" presId="urn:microsoft.com/office/officeart/2005/8/layout/hierarchy6"/>
    <dgm:cxn modelId="{A621D7FD-7282-4F87-AB87-21CD2EBADF09}" type="presOf" srcId="{8258E7A2-05F2-49E4-B3A6-F4702FB05F8A}" destId="{D1190639-E1D7-45CC-B7E2-C916949E7C08}" srcOrd="0" destOrd="0" presId="urn:microsoft.com/office/officeart/2005/8/layout/hierarchy6"/>
    <dgm:cxn modelId="{A6135B17-4194-43EC-B995-7C1EC5E3D212}" type="presParOf" srcId="{E8170A24-B9D6-476C-BA9B-520B6C6C80D7}" destId="{F2FCA989-3E42-4776-8AF8-9616728FBFE7}" srcOrd="0" destOrd="0" presId="urn:microsoft.com/office/officeart/2005/8/layout/hierarchy6"/>
    <dgm:cxn modelId="{12DD0B50-2331-4A1A-9F85-14002390FBC9}" type="presParOf" srcId="{F2FCA989-3E42-4776-8AF8-9616728FBFE7}" destId="{A49C018D-69F1-4891-98A5-06185D96B375}" srcOrd="0" destOrd="0" presId="urn:microsoft.com/office/officeart/2005/8/layout/hierarchy6"/>
    <dgm:cxn modelId="{377E5D21-9E22-4D11-ACD0-D53BDB2FFE7B}" type="presParOf" srcId="{A49C018D-69F1-4891-98A5-06185D96B375}" destId="{97FDBDD4-6FD5-4AD0-947F-5F98FB892596}" srcOrd="0" destOrd="0" presId="urn:microsoft.com/office/officeart/2005/8/layout/hierarchy6"/>
    <dgm:cxn modelId="{18B99FF8-FA84-4D16-84C7-1115F9C5D370}" type="presParOf" srcId="{97FDBDD4-6FD5-4AD0-947F-5F98FB892596}" destId="{86E87806-462D-4021-B716-BF30F5397896}" srcOrd="0" destOrd="0" presId="urn:microsoft.com/office/officeart/2005/8/layout/hierarchy6"/>
    <dgm:cxn modelId="{91514195-F08F-42A3-B935-646BCA5058E5}" type="presParOf" srcId="{97FDBDD4-6FD5-4AD0-947F-5F98FB892596}" destId="{35A5E084-5147-4B3A-8F0F-A7B1A9D14AFD}" srcOrd="1" destOrd="0" presId="urn:microsoft.com/office/officeart/2005/8/layout/hierarchy6"/>
    <dgm:cxn modelId="{649102E3-3C50-4763-9ABA-10C8E2439430}" type="presParOf" srcId="{35A5E084-5147-4B3A-8F0F-A7B1A9D14AFD}" destId="{C113824A-7555-4C87-B2BE-96501C624C75}" srcOrd="0" destOrd="0" presId="urn:microsoft.com/office/officeart/2005/8/layout/hierarchy6"/>
    <dgm:cxn modelId="{A8034872-F293-4B92-8ED9-19EDAB11A8C9}" type="presParOf" srcId="{35A5E084-5147-4B3A-8F0F-A7B1A9D14AFD}" destId="{BE067252-2D3F-4DA7-A3B0-0271DCAC7ACE}" srcOrd="1" destOrd="0" presId="urn:microsoft.com/office/officeart/2005/8/layout/hierarchy6"/>
    <dgm:cxn modelId="{69E824F3-49D2-42FA-8F2C-49881C44726C}" type="presParOf" srcId="{BE067252-2D3F-4DA7-A3B0-0271DCAC7ACE}" destId="{9C2DE11F-DF23-4919-B7BD-27DB31DE2417}" srcOrd="0" destOrd="0" presId="urn:microsoft.com/office/officeart/2005/8/layout/hierarchy6"/>
    <dgm:cxn modelId="{4535EB2C-76E1-4531-B6D2-4B07574401E7}" type="presParOf" srcId="{BE067252-2D3F-4DA7-A3B0-0271DCAC7ACE}" destId="{FCBDAC34-405F-4217-ADFF-FC1763628357}" srcOrd="1" destOrd="0" presId="urn:microsoft.com/office/officeart/2005/8/layout/hierarchy6"/>
    <dgm:cxn modelId="{D55C17EA-0D3F-4E80-9771-13F6E8BA3DD9}" type="presParOf" srcId="{FCBDAC34-405F-4217-ADFF-FC1763628357}" destId="{4115379B-A779-422E-A95E-5CC6ACAD24AA}" srcOrd="0" destOrd="0" presId="urn:microsoft.com/office/officeart/2005/8/layout/hierarchy6"/>
    <dgm:cxn modelId="{0A193F3D-A5F5-462F-A0E6-36FCFB7F68C1}" type="presParOf" srcId="{FCBDAC34-405F-4217-ADFF-FC1763628357}" destId="{7670C453-7839-468B-A113-74880D3B7B6C}" srcOrd="1" destOrd="0" presId="urn:microsoft.com/office/officeart/2005/8/layout/hierarchy6"/>
    <dgm:cxn modelId="{1F01EF53-842D-4E63-BEF9-94732F8D17F4}" type="presParOf" srcId="{7670C453-7839-468B-A113-74880D3B7B6C}" destId="{5C1096D5-40FF-4B10-8A2F-3BFE55DC37C4}" srcOrd="0" destOrd="0" presId="urn:microsoft.com/office/officeart/2005/8/layout/hierarchy6"/>
    <dgm:cxn modelId="{D61AC103-E736-4F49-B304-8FDD501F61EB}" type="presParOf" srcId="{7670C453-7839-468B-A113-74880D3B7B6C}" destId="{728FB85B-7598-4222-9286-E746AC9F803C}" srcOrd="1" destOrd="0" presId="urn:microsoft.com/office/officeart/2005/8/layout/hierarchy6"/>
    <dgm:cxn modelId="{66CE3A5D-F258-48E8-B377-3571E1D97AC4}" type="presParOf" srcId="{FCBDAC34-405F-4217-ADFF-FC1763628357}" destId="{D1F2B48B-0A17-4BA4-BB35-4F83AF68E8C0}" srcOrd="2" destOrd="0" presId="urn:microsoft.com/office/officeart/2005/8/layout/hierarchy6"/>
    <dgm:cxn modelId="{FAE84532-EFA3-4E62-857C-3D60E40C31A9}" type="presParOf" srcId="{FCBDAC34-405F-4217-ADFF-FC1763628357}" destId="{E09DD12C-7A15-4B54-98B1-F2D0F1C89BEE}" srcOrd="3" destOrd="0" presId="urn:microsoft.com/office/officeart/2005/8/layout/hierarchy6"/>
    <dgm:cxn modelId="{8C7A1A0A-9FC8-4FB5-A212-35653A3B3C57}" type="presParOf" srcId="{E09DD12C-7A15-4B54-98B1-F2D0F1C89BEE}" destId="{5FEBEBC5-9607-4B49-82F6-220A5A82DCA3}" srcOrd="0" destOrd="0" presId="urn:microsoft.com/office/officeart/2005/8/layout/hierarchy6"/>
    <dgm:cxn modelId="{16E42415-B8CC-4833-AF27-3DC938156BC0}" type="presParOf" srcId="{E09DD12C-7A15-4B54-98B1-F2D0F1C89BEE}" destId="{AA3EE521-4EE8-41AC-935D-19491E82AC10}" srcOrd="1" destOrd="0" presId="urn:microsoft.com/office/officeart/2005/8/layout/hierarchy6"/>
    <dgm:cxn modelId="{5D47D358-EFB0-4BD4-97F4-8DD2D94A19BC}" type="presParOf" srcId="{FCBDAC34-405F-4217-ADFF-FC1763628357}" destId="{97D1A4A4-C0EF-44EB-9149-CF3BC8359F9D}" srcOrd="4" destOrd="0" presId="urn:microsoft.com/office/officeart/2005/8/layout/hierarchy6"/>
    <dgm:cxn modelId="{1D86041D-CC44-4C72-BDD4-D02AA8CEFA4A}" type="presParOf" srcId="{FCBDAC34-405F-4217-ADFF-FC1763628357}" destId="{A62B8DCA-FDEF-400D-9111-E375DED77B61}" srcOrd="5" destOrd="0" presId="urn:microsoft.com/office/officeart/2005/8/layout/hierarchy6"/>
    <dgm:cxn modelId="{98E9A9E9-3A1C-452D-A132-9FFC1FE18DCA}" type="presParOf" srcId="{A62B8DCA-FDEF-400D-9111-E375DED77B61}" destId="{633CAE10-57CD-44C7-A6F5-8B3093CB8B4D}" srcOrd="0" destOrd="0" presId="urn:microsoft.com/office/officeart/2005/8/layout/hierarchy6"/>
    <dgm:cxn modelId="{5C2CD6BD-0F14-4223-B888-4D02A88A060F}" type="presParOf" srcId="{A62B8DCA-FDEF-400D-9111-E375DED77B61}" destId="{6CD75E5F-24F5-4BDC-A063-865AF99C7E79}" srcOrd="1" destOrd="0" presId="urn:microsoft.com/office/officeart/2005/8/layout/hierarchy6"/>
    <dgm:cxn modelId="{CB2E605E-4802-4823-AC0A-A6D5EECE670E}" type="presParOf" srcId="{6CD75E5F-24F5-4BDC-A063-865AF99C7E79}" destId="{655625AB-1A89-405F-AA45-2F7986065705}" srcOrd="0" destOrd="0" presId="urn:microsoft.com/office/officeart/2005/8/layout/hierarchy6"/>
    <dgm:cxn modelId="{4E6A21E6-D3B0-43FF-BB91-BA39EC9953AF}" type="presParOf" srcId="{6CD75E5F-24F5-4BDC-A063-865AF99C7E79}" destId="{C889BB32-4366-4F1D-8ED4-077CB0D20F8B}" srcOrd="1" destOrd="0" presId="urn:microsoft.com/office/officeart/2005/8/layout/hierarchy6"/>
    <dgm:cxn modelId="{B652466E-7846-4F2B-ABE1-F96653B95E5A}" type="presParOf" srcId="{C889BB32-4366-4F1D-8ED4-077CB0D20F8B}" destId="{CDA9A297-F1DB-4AC2-A226-3911EBB63085}" srcOrd="0" destOrd="0" presId="urn:microsoft.com/office/officeart/2005/8/layout/hierarchy6"/>
    <dgm:cxn modelId="{60E0B4FB-037A-4EF8-87C6-D240703BC3E9}" type="presParOf" srcId="{C889BB32-4366-4F1D-8ED4-077CB0D20F8B}" destId="{85138902-6588-4476-A857-3EAC5CACB1B0}" srcOrd="1" destOrd="0" presId="urn:microsoft.com/office/officeart/2005/8/layout/hierarchy6"/>
    <dgm:cxn modelId="{1FA94047-2C65-4463-B07F-43DCCFD6278B}" type="presParOf" srcId="{6CD75E5F-24F5-4BDC-A063-865AF99C7E79}" destId="{DD7723A2-260C-4955-B459-56D3F5ABEA3B}" srcOrd="2" destOrd="0" presId="urn:microsoft.com/office/officeart/2005/8/layout/hierarchy6"/>
    <dgm:cxn modelId="{6C84CEC0-3A2A-498A-B8C2-21221CA2A4F6}" type="presParOf" srcId="{6CD75E5F-24F5-4BDC-A063-865AF99C7E79}" destId="{6FBFB85D-F9F3-435C-A1A0-A96CAD890558}" srcOrd="3" destOrd="0" presId="urn:microsoft.com/office/officeart/2005/8/layout/hierarchy6"/>
    <dgm:cxn modelId="{9CCB64F0-0D13-4B83-8E47-F778C87A7A9D}" type="presParOf" srcId="{6FBFB85D-F9F3-435C-A1A0-A96CAD890558}" destId="{DE80A589-182F-4742-80CF-A33672F8C4E6}" srcOrd="0" destOrd="0" presId="urn:microsoft.com/office/officeart/2005/8/layout/hierarchy6"/>
    <dgm:cxn modelId="{76596BC9-45A5-4DA7-92E4-0FF7268055C4}" type="presParOf" srcId="{6FBFB85D-F9F3-435C-A1A0-A96CAD890558}" destId="{DE5A2E03-3D9E-4DCD-B510-BA6062663A92}" srcOrd="1" destOrd="0" presId="urn:microsoft.com/office/officeart/2005/8/layout/hierarchy6"/>
    <dgm:cxn modelId="{3B41BA8E-6672-48D4-941C-C6336DDB43FD}" type="presParOf" srcId="{35A5E084-5147-4B3A-8F0F-A7B1A9D14AFD}" destId="{938EAEDA-47DA-48E8-862A-99782042FB38}" srcOrd="2" destOrd="0" presId="urn:microsoft.com/office/officeart/2005/8/layout/hierarchy6"/>
    <dgm:cxn modelId="{763CA1C2-C194-4E39-A04C-A65C73C322CA}" type="presParOf" srcId="{35A5E084-5147-4B3A-8F0F-A7B1A9D14AFD}" destId="{FADCA795-13D0-4FCD-8F67-08FE05405CCA}" srcOrd="3" destOrd="0" presId="urn:microsoft.com/office/officeart/2005/8/layout/hierarchy6"/>
    <dgm:cxn modelId="{58EDB68E-E264-4F35-B08F-5DD1654D4B23}" type="presParOf" srcId="{FADCA795-13D0-4FCD-8F67-08FE05405CCA}" destId="{4FF1563B-4F2E-40CA-B265-9087B388CBDB}" srcOrd="0" destOrd="0" presId="urn:microsoft.com/office/officeart/2005/8/layout/hierarchy6"/>
    <dgm:cxn modelId="{2CE4F6C7-8AFE-4AC7-BAC0-FE4254464A4F}" type="presParOf" srcId="{FADCA795-13D0-4FCD-8F67-08FE05405CCA}" destId="{965D8782-1D34-4E51-A21E-C116C8805118}" srcOrd="1" destOrd="0" presId="urn:microsoft.com/office/officeart/2005/8/layout/hierarchy6"/>
    <dgm:cxn modelId="{B546F2BC-0A20-4689-8BC9-8F5F90862E43}" type="presParOf" srcId="{35A5E084-5147-4B3A-8F0F-A7B1A9D14AFD}" destId="{A20BD15A-FC61-455A-A3A7-7D3D2257CA05}" srcOrd="4" destOrd="0" presId="urn:microsoft.com/office/officeart/2005/8/layout/hierarchy6"/>
    <dgm:cxn modelId="{A93F71FD-BE26-47C5-B194-1B8ED9F904AB}" type="presParOf" srcId="{35A5E084-5147-4B3A-8F0F-A7B1A9D14AFD}" destId="{ADBCD91E-50E9-41C5-83E8-78009C8E2108}" srcOrd="5" destOrd="0" presId="urn:microsoft.com/office/officeart/2005/8/layout/hierarchy6"/>
    <dgm:cxn modelId="{472C721A-7908-426D-918C-146555FFFA58}" type="presParOf" srcId="{ADBCD91E-50E9-41C5-83E8-78009C8E2108}" destId="{05B25B66-598F-4D54-8C9F-7AFDDFC6B1ED}" srcOrd="0" destOrd="0" presId="urn:microsoft.com/office/officeart/2005/8/layout/hierarchy6"/>
    <dgm:cxn modelId="{40DC83EC-1127-4A76-96C5-D93ED2121046}" type="presParOf" srcId="{ADBCD91E-50E9-41C5-83E8-78009C8E2108}" destId="{4D7353D5-7A6E-452E-950E-0286C2A06A69}" srcOrd="1" destOrd="0" presId="urn:microsoft.com/office/officeart/2005/8/layout/hierarchy6"/>
    <dgm:cxn modelId="{280A1B8D-A956-4C3C-A835-2667CC54A0C4}" type="presParOf" srcId="{35A5E084-5147-4B3A-8F0F-A7B1A9D14AFD}" destId="{A5BF4C9F-9F6E-44C2-BF74-4AA3CF8B6EA3}" srcOrd="6" destOrd="0" presId="urn:microsoft.com/office/officeart/2005/8/layout/hierarchy6"/>
    <dgm:cxn modelId="{184E47C5-F7AA-472A-B6C6-97245E168AA5}" type="presParOf" srcId="{35A5E084-5147-4B3A-8F0F-A7B1A9D14AFD}" destId="{0D921B9B-F7CC-474C-BB35-89DDE02292EC}" srcOrd="7" destOrd="0" presId="urn:microsoft.com/office/officeart/2005/8/layout/hierarchy6"/>
    <dgm:cxn modelId="{14F25678-2277-4DD4-998E-11E7F125DD29}" type="presParOf" srcId="{0D921B9B-F7CC-474C-BB35-89DDE02292EC}" destId="{4DC6A647-2E75-4952-9A97-22DE6DC72A3B}" srcOrd="0" destOrd="0" presId="urn:microsoft.com/office/officeart/2005/8/layout/hierarchy6"/>
    <dgm:cxn modelId="{A12E90F3-0D32-49CE-A8BA-5FC1328F1635}" type="presParOf" srcId="{0D921B9B-F7CC-474C-BB35-89DDE02292EC}" destId="{E2A55096-9617-40F7-BD27-6850E15DB13C}" srcOrd="1" destOrd="0" presId="urn:microsoft.com/office/officeart/2005/8/layout/hierarchy6"/>
    <dgm:cxn modelId="{C505FB8D-BAE4-4314-BD44-FB74A1044859}" type="presParOf" srcId="{35A5E084-5147-4B3A-8F0F-A7B1A9D14AFD}" destId="{D1190639-E1D7-45CC-B7E2-C916949E7C08}" srcOrd="8" destOrd="0" presId="urn:microsoft.com/office/officeart/2005/8/layout/hierarchy6"/>
    <dgm:cxn modelId="{65EDA765-B7F0-47C3-BB4A-09B85DBDD94B}" type="presParOf" srcId="{35A5E084-5147-4B3A-8F0F-A7B1A9D14AFD}" destId="{85798EDA-4437-482B-909E-F9FBC8A8E8AE}" srcOrd="9" destOrd="0" presId="urn:microsoft.com/office/officeart/2005/8/layout/hierarchy6"/>
    <dgm:cxn modelId="{8E918E94-0A98-4799-95C2-A4C9AAD5607C}" type="presParOf" srcId="{85798EDA-4437-482B-909E-F9FBC8A8E8AE}" destId="{569C66CB-3F6B-42EC-9113-3D4FFCF79B08}" srcOrd="0" destOrd="0" presId="urn:microsoft.com/office/officeart/2005/8/layout/hierarchy6"/>
    <dgm:cxn modelId="{1B7A7601-2F40-4B36-96F6-0AAF727F531A}" type="presParOf" srcId="{85798EDA-4437-482B-909E-F9FBC8A8E8AE}" destId="{1077A3F9-F928-4BF7-9EDA-A361324AE1E3}" srcOrd="1" destOrd="0" presId="urn:microsoft.com/office/officeart/2005/8/layout/hierarchy6"/>
    <dgm:cxn modelId="{305CCC8F-851E-4B6F-99AC-26AD3ABEE474}" type="presParOf" srcId="{1077A3F9-F928-4BF7-9EDA-A361324AE1E3}" destId="{DAD2A4AA-A5CA-4842-8067-1769180E32DF}" srcOrd="0" destOrd="0" presId="urn:microsoft.com/office/officeart/2005/8/layout/hierarchy6"/>
    <dgm:cxn modelId="{076BF1F8-558B-488F-9DA2-A77C0BA7E18D}" type="presParOf" srcId="{1077A3F9-F928-4BF7-9EDA-A361324AE1E3}" destId="{B8FF90E2-64A8-4C23-91CD-3CED69411668}" srcOrd="1" destOrd="0" presId="urn:microsoft.com/office/officeart/2005/8/layout/hierarchy6"/>
    <dgm:cxn modelId="{FC201F0C-0952-42FA-8B17-E58390B0DBFA}" type="presParOf" srcId="{B8FF90E2-64A8-4C23-91CD-3CED69411668}" destId="{AFE984F1-A788-43FF-B773-6DF3B701FABB}" srcOrd="0" destOrd="0" presId="urn:microsoft.com/office/officeart/2005/8/layout/hierarchy6"/>
    <dgm:cxn modelId="{5EF84521-74F2-4464-9803-0B5CEE8C6CCE}" type="presParOf" srcId="{B8FF90E2-64A8-4C23-91CD-3CED69411668}" destId="{45B8E6A8-CD47-4451-9DF0-945D0E12DB34}" srcOrd="1" destOrd="0" presId="urn:microsoft.com/office/officeart/2005/8/layout/hierarchy6"/>
    <dgm:cxn modelId="{F054D49F-2CB7-4968-94ED-3F95845ADDA4}" type="presParOf" srcId="{E8170A24-B9D6-476C-BA9B-520B6C6C80D7}" destId="{1EEA7A41-C287-4CAC-858C-24BA73578A94}"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B127D6-B202-41CE-859F-A9536CC11A65}"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04AD0EF0-D6FF-4038-A757-AB73630C29D8}">
      <dgm:prSet custT="1"/>
      <dgm:spPr/>
      <dgm:t>
        <a:bodyPr/>
        <a:lstStyle/>
        <a:p>
          <a:r>
            <a:rPr lang="en-US" sz="2400" baseline="0" dirty="0"/>
            <a:t>sys.dm_exec_cached_plans</a:t>
          </a:r>
          <a:endParaRPr lang="en-US" sz="2400" dirty="0"/>
        </a:p>
      </dgm:t>
    </dgm:pt>
    <dgm:pt modelId="{3364A55B-1D4B-444F-A5B4-4A6B26961A08}" type="parTrans" cxnId="{5265EA97-BA1F-4EA8-90B1-E3086447C344}">
      <dgm:prSet/>
      <dgm:spPr/>
      <dgm:t>
        <a:bodyPr/>
        <a:lstStyle/>
        <a:p>
          <a:endParaRPr lang="en-US"/>
        </a:p>
      </dgm:t>
    </dgm:pt>
    <dgm:pt modelId="{819F637C-BD62-46F3-97B5-73CEB7A36381}" type="sibTrans" cxnId="{5265EA97-BA1F-4EA8-90B1-E3086447C344}">
      <dgm:prSet/>
      <dgm:spPr/>
      <dgm:t>
        <a:bodyPr/>
        <a:lstStyle/>
        <a:p>
          <a:endParaRPr lang="en-US"/>
        </a:p>
      </dgm:t>
    </dgm:pt>
    <dgm:pt modelId="{F71545CF-346A-44D1-94CF-B682DEA980F4}">
      <dgm:prSet/>
      <dgm:spPr/>
      <dgm:t>
        <a:bodyPr/>
        <a:lstStyle/>
        <a:p>
          <a:r>
            <a:rPr lang="en-US" dirty="0"/>
            <a:t>Plan type, size and handle</a:t>
          </a:r>
        </a:p>
      </dgm:t>
    </dgm:pt>
    <dgm:pt modelId="{4597E3A5-2797-49E1-A20E-3F4E84B2B738}" type="parTrans" cxnId="{291540DB-4253-4924-BEC8-171835015E99}">
      <dgm:prSet/>
      <dgm:spPr/>
      <dgm:t>
        <a:bodyPr/>
        <a:lstStyle/>
        <a:p>
          <a:endParaRPr lang="en-US"/>
        </a:p>
      </dgm:t>
    </dgm:pt>
    <dgm:pt modelId="{13AF8E62-FBDA-4E12-8097-07A0C7AECB9A}" type="sibTrans" cxnId="{291540DB-4253-4924-BEC8-171835015E99}">
      <dgm:prSet/>
      <dgm:spPr/>
      <dgm:t>
        <a:bodyPr/>
        <a:lstStyle/>
        <a:p>
          <a:endParaRPr lang="en-US"/>
        </a:p>
      </dgm:t>
    </dgm:pt>
    <dgm:pt modelId="{7FDE9BCB-4D03-4BDB-ADEA-F7581269CF9F}">
      <dgm:prSet custT="1"/>
      <dgm:spPr/>
      <dgm:t>
        <a:bodyPr/>
        <a:lstStyle/>
        <a:p>
          <a:r>
            <a:rPr lang="en-US" sz="2400" baseline="0" dirty="0"/>
            <a:t>sys.dm_exec_query_stats</a:t>
          </a:r>
          <a:endParaRPr lang="en-US" sz="2400" dirty="0"/>
        </a:p>
      </dgm:t>
    </dgm:pt>
    <dgm:pt modelId="{6C70A401-7D91-4526-AF1B-503BD4D075F6}" type="parTrans" cxnId="{E1DF7EDC-91A9-46A4-88BC-B2D79E9C1C8B}">
      <dgm:prSet/>
      <dgm:spPr/>
      <dgm:t>
        <a:bodyPr/>
        <a:lstStyle/>
        <a:p>
          <a:endParaRPr lang="en-US"/>
        </a:p>
      </dgm:t>
    </dgm:pt>
    <dgm:pt modelId="{75BAFCB1-9A89-4714-B653-BA598DA2AADB}" type="sibTrans" cxnId="{E1DF7EDC-91A9-46A4-88BC-B2D79E9C1C8B}">
      <dgm:prSet/>
      <dgm:spPr/>
      <dgm:t>
        <a:bodyPr/>
        <a:lstStyle/>
        <a:p>
          <a:endParaRPr lang="en-US"/>
        </a:p>
      </dgm:t>
    </dgm:pt>
    <dgm:pt modelId="{609C4653-2524-4161-8924-63ECBFD8719E}">
      <dgm:prSet/>
      <dgm:spPr/>
      <dgm:t>
        <a:bodyPr/>
        <a:lstStyle/>
        <a:p>
          <a:r>
            <a:rPr lang="en-US" baseline="0" dirty="0"/>
            <a:t>Execution metrics for individual statements</a:t>
          </a:r>
          <a:endParaRPr lang="en-US" dirty="0"/>
        </a:p>
      </dgm:t>
    </dgm:pt>
    <dgm:pt modelId="{18591B58-F038-44E5-8842-3C484D2CFCBF}" type="parTrans" cxnId="{36641EDC-3994-4B2A-B437-39DA6C514DEF}">
      <dgm:prSet/>
      <dgm:spPr/>
      <dgm:t>
        <a:bodyPr/>
        <a:lstStyle/>
        <a:p>
          <a:endParaRPr lang="en-US"/>
        </a:p>
      </dgm:t>
    </dgm:pt>
    <dgm:pt modelId="{7A25E1B1-F8E0-4170-AE64-7C6206FA9618}" type="sibTrans" cxnId="{36641EDC-3994-4B2A-B437-39DA6C514DEF}">
      <dgm:prSet/>
      <dgm:spPr/>
      <dgm:t>
        <a:bodyPr/>
        <a:lstStyle/>
        <a:p>
          <a:endParaRPr lang="en-US"/>
        </a:p>
      </dgm:t>
    </dgm:pt>
    <dgm:pt modelId="{CCA323D9-642F-45C1-8E72-56172435493E}">
      <dgm:prSet custT="1"/>
      <dgm:spPr/>
      <dgm:t>
        <a:bodyPr/>
        <a:lstStyle/>
        <a:p>
          <a:r>
            <a:rPr lang="en-US" sz="2400" baseline="0" dirty="0"/>
            <a:t>sys.dm_exec_query_plan()</a:t>
          </a:r>
          <a:endParaRPr lang="en-US" sz="2400" dirty="0"/>
        </a:p>
      </dgm:t>
    </dgm:pt>
    <dgm:pt modelId="{7842FB8C-1677-43A9-BDBA-15C2EFA725EA}" type="parTrans" cxnId="{FB7B4F75-EFD9-4F32-95A0-9544100F27F4}">
      <dgm:prSet/>
      <dgm:spPr/>
      <dgm:t>
        <a:bodyPr/>
        <a:lstStyle/>
        <a:p>
          <a:endParaRPr lang="en-US"/>
        </a:p>
      </dgm:t>
    </dgm:pt>
    <dgm:pt modelId="{DC11CA20-F289-4E34-BDB6-FAB9743E5A66}" type="sibTrans" cxnId="{FB7B4F75-EFD9-4F32-95A0-9544100F27F4}">
      <dgm:prSet/>
      <dgm:spPr/>
      <dgm:t>
        <a:bodyPr/>
        <a:lstStyle/>
        <a:p>
          <a:endParaRPr lang="en-US"/>
        </a:p>
      </dgm:t>
    </dgm:pt>
    <dgm:pt modelId="{B44B91CD-E277-46C6-A070-BB59D64616FE}">
      <dgm:prSet/>
      <dgm:spPr/>
      <dgm:t>
        <a:bodyPr/>
        <a:lstStyle/>
        <a:p>
          <a:r>
            <a:rPr lang="en-US" baseline="0" dirty="0"/>
            <a:t>Takes a plan_handle and returns the associated XML plan </a:t>
          </a:r>
          <a:endParaRPr lang="en-US" dirty="0"/>
        </a:p>
      </dgm:t>
    </dgm:pt>
    <dgm:pt modelId="{155B7CA7-6EF1-4608-9347-DF87D876D227}" type="parTrans" cxnId="{F17FC849-64A1-4F96-883D-1358B2661B4D}">
      <dgm:prSet/>
      <dgm:spPr/>
      <dgm:t>
        <a:bodyPr/>
        <a:lstStyle/>
        <a:p>
          <a:endParaRPr lang="en-US"/>
        </a:p>
      </dgm:t>
    </dgm:pt>
    <dgm:pt modelId="{5B77BF48-A54A-444E-8CB0-B18E7DD65AAC}" type="sibTrans" cxnId="{F17FC849-64A1-4F96-883D-1358B2661B4D}">
      <dgm:prSet/>
      <dgm:spPr/>
      <dgm:t>
        <a:bodyPr/>
        <a:lstStyle/>
        <a:p>
          <a:endParaRPr lang="en-US"/>
        </a:p>
      </dgm:t>
    </dgm:pt>
    <dgm:pt modelId="{081CF36B-6A77-4296-9254-1D9087D7ADA8}">
      <dgm:prSet custT="1"/>
      <dgm:spPr/>
      <dgm:t>
        <a:bodyPr/>
        <a:lstStyle/>
        <a:p>
          <a:pPr algn="ctr"/>
          <a:r>
            <a:rPr lang="en-US" sz="2400" baseline="0" dirty="0"/>
            <a:t>sys.dm_exec_sql_text()</a:t>
          </a:r>
          <a:endParaRPr lang="en-US" sz="2400" dirty="0"/>
        </a:p>
      </dgm:t>
    </dgm:pt>
    <dgm:pt modelId="{85D4CF45-00F0-49F2-B4AF-7EF38186E240}" type="parTrans" cxnId="{E481D74B-F8E8-41A1-8832-98DAD6FAE3C5}">
      <dgm:prSet/>
      <dgm:spPr/>
      <dgm:t>
        <a:bodyPr/>
        <a:lstStyle/>
        <a:p>
          <a:endParaRPr lang="en-US"/>
        </a:p>
      </dgm:t>
    </dgm:pt>
    <dgm:pt modelId="{47BE6DBA-0897-4EF7-9FC9-AE83A5F75041}" type="sibTrans" cxnId="{E481D74B-F8E8-41A1-8832-98DAD6FAE3C5}">
      <dgm:prSet/>
      <dgm:spPr/>
      <dgm:t>
        <a:bodyPr/>
        <a:lstStyle/>
        <a:p>
          <a:endParaRPr lang="en-US"/>
        </a:p>
      </dgm:t>
    </dgm:pt>
    <dgm:pt modelId="{62C689BA-47C9-43B6-B4C7-A0C3B5A40739}">
      <dgm:prSet/>
      <dgm:spPr/>
      <dgm:t>
        <a:bodyPr/>
        <a:lstStyle/>
        <a:p>
          <a:r>
            <a:rPr lang="en-US" baseline="0" dirty="0"/>
            <a:t>Takes a plan_handle or sql_handle and returns the associated SQL batch</a:t>
          </a:r>
          <a:endParaRPr lang="en-US" dirty="0"/>
        </a:p>
      </dgm:t>
    </dgm:pt>
    <dgm:pt modelId="{311669E3-D9AD-4E46-8625-558EBCB85B62}" type="parTrans" cxnId="{89B88349-6A67-4505-BC4F-5552AF89FFF2}">
      <dgm:prSet/>
      <dgm:spPr/>
      <dgm:t>
        <a:bodyPr/>
        <a:lstStyle/>
        <a:p>
          <a:endParaRPr lang="en-US"/>
        </a:p>
      </dgm:t>
    </dgm:pt>
    <dgm:pt modelId="{41FB5C0A-46C1-43D3-90EC-D1329B481873}" type="sibTrans" cxnId="{89B88349-6A67-4505-BC4F-5552AF89FFF2}">
      <dgm:prSet/>
      <dgm:spPr/>
      <dgm:t>
        <a:bodyPr/>
        <a:lstStyle/>
        <a:p>
          <a:endParaRPr lang="en-US"/>
        </a:p>
      </dgm:t>
    </dgm:pt>
    <dgm:pt modelId="{41B114B4-2075-481F-8666-65F14F2E771D}" type="pres">
      <dgm:prSet presAssocID="{43B127D6-B202-41CE-859F-A9536CC11A65}" presName="Name0" presStyleCnt="0">
        <dgm:presLayoutVars>
          <dgm:dir/>
          <dgm:animLvl val="lvl"/>
          <dgm:resizeHandles/>
        </dgm:presLayoutVars>
      </dgm:prSet>
      <dgm:spPr/>
    </dgm:pt>
    <dgm:pt modelId="{BB654D36-B336-424D-888A-0D63493F46B8}" type="pres">
      <dgm:prSet presAssocID="{04AD0EF0-D6FF-4038-A757-AB73630C29D8}" presName="linNode" presStyleCnt="0"/>
      <dgm:spPr/>
    </dgm:pt>
    <dgm:pt modelId="{54391A25-D2D9-4355-B400-2D7370C7C8CE}" type="pres">
      <dgm:prSet presAssocID="{04AD0EF0-D6FF-4038-A757-AB73630C29D8}" presName="parentShp" presStyleLbl="node1" presStyleIdx="0" presStyleCnt="4">
        <dgm:presLayoutVars>
          <dgm:bulletEnabled val="1"/>
        </dgm:presLayoutVars>
      </dgm:prSet>
      <dgm:spPr/>
    </dgm:pt>
    <dgm:pt modelId="{097E8114-12F3-469E-A27B-D86B1C6D839A}" type="pres">
      <dgm:prSet presAssocID="{04AD0EF0-D6FF-4038-A757-AB73630C29D8}" presName="childShp" presStyleLbl="bgAccFollowNode1" presStyleIdx="0" presStyleCnt="4">
        <dgm:presLayoutVars>
          <dgm:bulletEnabled val="1"/>
        </dgm:presLayoutVars>
      </dgm:prSet>
      <dgm:spPr/>
    </dgm:pt>
    <dgm:pt modelId="{4820B8F6-7CF0-40C3-8592-369BAB053290}" type="pres">
      <dgm:prSet presAssocID="{819F637C-BD62-46F3-97B5-73CEB7A36381}" presName="spacing" presStyleCnt="0"/>
      <dgm:spPr/>
    </dgm:pt>
    <dgm:pt modelId="{85A54C36-5914-417F-9884-C0442FF58314}" type="pres">
      <dgm:prSet presAssocID="{7FDE9BCB-4D03-4BDB-ADEA-F7581269CF9F}" presName="linNode" presStyleCnt="0"/>
      <dgm:spPr/>
    </dgm:pt>
    <dgm:pt modelId="{77C55A6C-86CD-46F6-A7BC-CD989BF29AD3}" type="pres">
      <dgm:prSet presAssocID="{7FDE9BCB-4D03-4BDB-ADEA-F7581269CF9F}" presName="parentShp" presStyleLbl="node1" presStyleIdx="1" presStyleCnt="4">
        <dgm:presLayoutVars>
          <dgm:bulletEnabled val="1"/>
        </dgm:presLayoutVars>
      </dgm:prSet>
      <dgm:spPr/>
    </dgm:pt>
    <dgm:pt modelId="{DD3870A4-BF67-43F5-BD9C-EFCAFD36AF9C}" type="pres">
      <dgm:prSet presAssocID="{7FDE9BCB-4D03-4BDB-ADEA-F7581269CF9F}" presName="childShp" presStyleLbl="bgAccFollowNode1" presStyleIdx="1" presStyleCnt="4">
        <dgm:presLayoutVars>
          <dgm:bulletEnabled val="1"/>
        </dgm:presLayoutVars>
      </dgm:prSet>
      <dgm:spPr/>
    </dgm:pt>
    <dgm:pt modelId="{049F547D-F5E4-4341-ABFB-A5326E94C2FD}" type="pres">
      <dgm:prSet presAssocID="{75BAFCB1-9A89-4714-B653-BA598DA2AADB}" presName="spacing" presStyleCnt="0"/>
      <dgm:spPr/>
    </dgm:pt>
    <dgm:pt modelId="{8B18237F-CB70-41C0-806D-C2B1ABB4550F}" type="pres">
      <dgm:prSet presAssocID="{CCA323D9-642F-45C1-8E72-56172435493E}" presName="linNode" presStyleCnt="0"/>
      <dgm:spPr/>
    </dgm:pt>
    <dgm:pt modelId="{688B86EE-D10B-46C7-84F8-8C0C61F717C8}" type="pres">
      <dgm:prSet presAssocID="{CCA323D9-642F-45C1-8E72-56172435493E}" presName="parentShp" presStyleLbl="node1" presStyleIdx="2" presStyleCnt="4">
        <dgm:presLayoutVars>
          <dgm:bulletEnabled val="1"/>
        </dgm:presLayoutVars>
      </dgm:prSet>
      <dgm:spPr/>
    </dgm:pt>
    <dgm:pt modelId="{1DC62910-F5B0-4E12-AD2C-26B51B70F214}" type="pres">
      <dgm:prSet presAssocID="{CCA323D9-642F-45C1-8E72-56172435493E}" presName="childShp" presStyleLbl="bgAccFollowNode1" presStyleIdx="2" presStyleCnt="4">
        <dgm:presLayoutVars>
          <dgm:bulletEnabled val="1"/>
        </dgm:presLayoutVars>
      </dgm:prSet>
      <dgm:spPr/>
    </dgm:pt>
    <dgm:pt modelId="{6B8532DA-A002-4BDB-9063-DB94DCA0C567}" type="pres">
      <dgm:prSet presAssocID="{DC11CA20-F289-4E34-BDB6-FAB9743E5A66}" presName="spacing" presStyleCnt="0"/>
      <dgm:spPr/>
    </dgm:pt>
    <dgm:pt modelId="{E5B2ED6C-AE68-44CD-8657-CA3977AF12CD}" type="pres">
      <dgm:prSet presAssocID="{081CF36B-6A77-4296-9254-1D9087D7ADA8}" presName="linNode" presStyleCnt="0"/>
      <dgm:spPr/>
    </dgm:pt>
    <dgm:pt modelId="{19D55732-39F8-4659-9F37-B937D64447A3}" type="pres">
      <dgm:prSet presAssocID="{081CF36B-6A77-4296-9254-1D9087D7ADA8}" presName="parentShp" presStyleLbl="node1" presStyleIdx="3" presStyleCnt="4">
        <dgm:presLayoutVars>
          <dgm:bulletEnabled val="1"/>
        </dgm:presLayoutVars>
      </dgm:prSet>
      <dgm:spPr/>
    </dgm:pt>
    <dgm:pt modelId="{B61DEA13-FD87-4FB8-AB97-821EA9B9B040}" type="pres">
      <dgm:prSet presAssocID="{081CF36B-6A77-4296-9254-1D9087D7ADA8}" presName="childShp" presStyleLbl="bgAccFollowNode1" presStyleIdx="3" presStyleCnt="4">
        <dgm:presLayoutVars>
          <dgm:bulletEnabled val="1"/>
        </dgm:presLayoutVars>
      </dgm:prSet>
      <dgm:spPr/>
    </dgm:pt>
  </dgm:ptLst>
  <dgm:cxnLst>
    <dgm:cxn modelId="{83E8900D-B709-4B90-97A1-463973FEC34A}" type="presOf" srcId="{081CF36B-6A77-4296-9254-1D9087D7ADA8}" destId="{19D55732-39F8-4659-9F37-B937D64447A3}" srcOrd="0" destOrd="0" presId="urn:microsoft.com/office/officeart/2005/8/layout/vList6"/>
    <dgm:cxn modelId="{7472591B-301B-4592-B5FD-E2DEE86BEE46}" type="presOf" srcId="{04AD0EF0-D6FF-4038-A757-AB73630C29D8}" destId="{54391A25-D2D9-4355-B400-2D7370C7C8CE}" srcOrd="0" destOrd="0" presId="urn:microsoft.com/office/officeart/2005/8/layout/vList6"/>
    <dgm:cxn modelId="{368E0335-E8B8-45D4-B3E2-AE7AFDAA512C}" type="presOf" srcId="{F71545CF-346A-44D1-94CF-B682DEA980F4}" destId="{097E8114-12F3-469E-A27B-D86B1C6D839A}" srcOrd="0" destOrd="0" presId="urn:microsoft.com/office/officeart/2005/8/layout/vList6"/>
    <dgm:cxn modelId="{4811A843-0D5D-4713-9639-0BA99CEFE94F}" type="presOf" srcId="{43B127D6-B202-41CE-859F-A9536CC11A65}" destId="{41B114B4-2075-481F-8666-65F14F2E771D}" srcOrd="0" destOrd="0" presId="urn:microsoft.com/office/officeart/2005/8/layout/vList6"/>
    <dgm:cxn modelId="{89B88349-6A67-4505-BC4F-5552AF89FFF2}" srcId="{081CF36B-6A77-4296-9254-1D9087D7ADA8}" destId="{62C689BA-47C9-43B6-B4C7-A0C3B5A40739}" srcOrd="0" destOrd="0" parTransId="{311669E3-D9AD-4E46-8625-558EBCB85B62}" sibTransId="{41FB5C0A-46C1-43D3-90EC-D1329B481873}"/>
    <dgm:cxn modelId="{F17FC849-64A1-4F96-883D-1358B2661B4D}" srcId="{CCA323D9-642F-45C1-8E72-56172435493E}" destId="{B44B91CD-E277-46C6-A070-BB59D64616FE}" srcOrd="0" destOrd="0" parTransId="{155B7CA7-6EF1-4608-9347-DF87D876D227}" sibTransId="{5B77BF48-A54A-444E-8CB0-B18E7DD65AAC}"/>
    <dgm:cxn modelId="{E481D74B-F8E8-41A1-8832-98DAD6FAE3C5}" srcId="{43B127D6-B202-41CE-859F-A9536CC11A65}" destId="{081CF36B-6A77-4296-9254-1D9087D7ADA8}" srcOrd="3" destOrd="0" parTransId="{85D4CF45-00F0-49F2-B4AF-7EF38186E240}" sibTransId="{47BE6DBA-0897-4EF7-9FC9-AE83A5F75041}"/>
    <dgm:cxn modelId="{FB7B4F75-EFD9-4F32-95A0-9544100F27F4}" srcId="{43B127D6-B202-41CE-859F-A9536CC11A65}" destId="{CCA323D9-642F-45C1-8E72-56172435493E}" srcOrd="2" destOrd="0" parTransId="{7842FB8C-1677-43A9-BDBA-15C2EFA725EA}" sibTransId="{DC11CA20-F289-4E34-BDB6-FAB9743E5A66}"/>
    <dgm:cxn modelId="{C3EEFB80-1ACE-4667-9F36-FD1CCF7D50E5}" type="presOf" srcId="{7FDE9BCB-4D03-4BDB-ADEA-F7581269CF9F}" destId="{77C55A6C-86CD-46F6-A7BC-CD989BF29AD3}" srcOrd="0" destOrd="0" presId="urn:microsoft.com/office/officeart/2005/8/layout/vList6"/>
    <dgm:cxn modelId="{5265EA97-BA1F-4EA8-90B1-E3086447C344}" srcId="{43B127D6-B202-41CE-859F-A9536CC11A65}" destId="{04AD0EF0-D6FF-4038-A757-AB73630C29D8}" srcOrd="0" destOrd="0" parTransId="{3364A55B-1D4B-444F-A5B4-4A6B26961A08}" sibTransId="{819F637C-BD62-46F3-97B5-73CEB7A36381}"/>
    <dgm:cxn modelId="{0CD87B9B-A778-4049-BFBD-319F65F846C6}" type="presOf" srcId="{CCA323D9-642F-45C1-8E72-56172435493E}" destId="{688B86EE-D10B-46C7-84F8-8C0C61F717C8}" srcOrd="0" destOrd="0" presId="urn:microsoft.com/office/officeart/2005/8/layout/vList6"/>
    <dgm:cxn modelId="{42D897A3-BA63-4A12-B825-02025533ADB7}" type="presOf" srcId="{62C689BA-47C9-43B6-B4C7-A0C3B5A40739}" destId="{B61DEA13-FD87-4FB8-AB97-821EA9B9B040}" srcOrd="0" destOrd="0" presId="urn:microsoft.com/office/officeart/2005/8/layout/vList6"/>
    <dgm:cxn modelId="{291540DB-4253-4924-BEC8-171835015E99}" srcId="{04AD0EF0-D6FF-4038-A757-AB73630C29D8}" destId="{F71545CF-346A-44D1-94CF-B682DEA980F4}" srcOrd="0" destOrd="0" parTransId="{4597E3A5-2797-49E1-A20E-3F4E84B2B738}" sibTransId="{13AF8E62-FBDA-4E12-8097-07A0C7AECB9A}"/>
    <dgm:cxn modelId="{36641EDC-3994-4B2A-B437-39DA6C514DEF}" srcId="{7FDE9BCB-4D03-4BDB-ADEA-F7581269CF9F}" destId="{609C4653-2524-4161-8924-63ECBFD8719E}" srcOrd="0" destOrd="0" parTransId="{18591B58-F038-44E5-8842-3C484D2CFCBF}" sibTransId="{7A25E1B1-F8E0-4170-AE64-7C6206FA9618}"/>
    <dgm:cxn modelId="{E1DF7EDC-91A9-46A4-88BC-B2D79E9C1C8B}" srcId="{43B127D6-B202-41CE-859F-A9536CC11A65}" destId="{7FDE9BCB-4D03-4BDB-ADEA-F7581269CF9F}" srcOrd="1" destOrd="0" parTransId="{6C70A401-7D91-4526-AF1B-503BD4D075F6}" sibTransId="{75BAFCB1-9A89-4714-B653-BA598DA2AADB}"/>
    <dgm:cxn modelId="{606043E9-3113-4CFC-931B-F6D0C80579FB}" type="presOf" srcId="{B44B91CD-E277-46C6-A070-BB59D64616FE}" destId="{1DC62910-F5B0-4E12-AD2C-26B51B70F214}" srcOrd="0" destOrd="0" presId="urn:microsoft.com/office/officeart/2005/8/layout/vList6"/>
    <dgm:cxn modelId="{8273B5F8-4AF1-4B37-B6B5-1157D0A5FD31}" type="presOf" srcId="{609C4653-2524-4161-8924-63ECBFD8719E}" destId="{DD3870A4-BF67-43F5-BD9C-EFCAFD36AF9C}" srcOrd="0" destOrd="0" presId="urn:microsoft.com/office/officeart/2005/8/layout/vList6"/>
    <dgm:cxn modelId="{77E33757-A4EF-46C0-9524-4A8993DF311C}" type="presParOf" srcId="{41B114B4-2075-481F-8666-65F14F2E771D}" destId="{BB654D36-B336-424D-888A-0D63493F46B8}" srcOrd="0" destOrd="0" presId="urn:microsoft.com/office/officeart/2005/8/layout/vList6"/>
    <dgm:cxn modelId="{5D44153C-3449-4A9C-BAD1-2FA0073DEE09}" type="presParOf" srcId="{BB654D36-B336-424D-888A-0D63493F46B8}" destId="{54391A25-D2D9-4355-B400-2D7370C7C8CE}" srcOrd="0" destOrd="0" presId="urn:microsoft.com/office/officeart/2005/8/layout/vList6"/>
    <dgm:cxn modelId="{E8CBC6F7-819F-4663-B15A-ABAD0482B02B}" type="presParOf" srcId="{BB654D36-B336-424D-888A-0D63493F46B8}" destId="{097E8114-12F3-469E-A27B-D86B1C6D839A}" srcOrd="1" destOrd="0" presId="urn:microsoft.com/office/officeart/2005/8/layout/vList6"/>
    <dgm:cxn modelId="{ECAE0BB9-85C4-47EB-908B-9E9B22644695}" type="presParOf" srcId="{41B114B4-2075-481F-8666-65F14F2E771D}" destId="{4820B8F6-7CF0-40C3-8592-369BAB053290}" srcOrd="1" destOrd="0" presId="urn:microsoft.com/office/officeart/2005/8/layout/vList6"/>
    <dgm:cxn modelId="{44CBDAE2-EDB3-4D1A-B95A-B9FB0E227FE8}" type="presParOf" srcId="{41B114B4-2075-481F-8666-65F14F2E771D}" destId="{85A54C36-5914-417F-9884-C0442FF58314}" srcOrd="2" destOrd="0" presId="urn:microsoft.com/office/officeart/2005/8/layout/vList6"/>
    <dgm:cxn modelId="{1615978B-27F7-4887-AB8D-1FBD07A5FA0E}" type="presParOf" srcId="{85A54C36-5914-417F-9884-C0442FF58314}" destId="{77C55A6C-86CD-46F6-A7BC-CD989BF29AD3}" srcOrd="0" destOrd="0" presId="urn:microsoft.com/office/officeart/2005/8/layout/vList6"/>
    <dgm:cxn modelId="{34E3D3CE-AB30-47C1-A6C6-A85A3BE589A5}" type="presParOf" srcId="{85A54C36-5914-417F-9884-C0442FF58314}" destId="{DD3870A4-BF67-43F5-BD9C-EFCAFD36AF9C}" srcOrd="1" destOrd="0" presId="urn:microsoft.com/office/officeart/2005/8/layout/vList6"/>
    <dgm:cxn modelId="{D6A39605-26CB-4CFE-98E8-0E70781C3B69}" type="presParOf" srcId="{41B114B4-2075-481F-8666-65F14F2E771D}" destId="{049F547D-F5E4-4341-ABFB-A5326E94C2FD}" srcOrd="3" destOrd="0" presId="urn:microsoft.com/office/officeart/2005/8/layout/vList6"/>
    <dgm:cxn modelId="{0E30FEDA-CE76-4C96-9089-386EAF065C9F}" type="presParOf" srcId="{41B114B4-2075-481F-8666-65F14F2E771D}" destId="{8B18237F-CB70-41C0-806D-C2B1ABB4550F}" srcOrd="4" destOrd="0" presId="urn:microsoft.com/office/officeart/2005/8/layout/vList6"/>
    <dgm:cxn modelId="{6B8AFBC9-73CF-4790-9C20-2E03EF0A80C2}" type="presParOf" srcId="{8B18237F-CB70-41C0-806D-C2B1ABB4550F}" destId="{688B86EE-D10B-46C7-84F8-8C0C61F717C8}" srcOrd="0" destOrd="0" presId="urn:microsoft.com/office/officeart/2005/8/layout/vList6"/>
    <dgm:cxn modelId="{1C98C4F8-E46F-473D-BC65-CD40CD969BF5}" type="presParOf" srcId="{8B18237F-CB70-41C0-806D-C2B1ABB4550F}" destId="{1DC62910-F5B0-4E12-AD2C-26B51B70F214}" srcOrd="1" destOrd="0" presId="urn:microsoft.com/office/officeart/2005/8/layout/vList6"/>
    <dgm:cxn modelId="{08E8C029-BE00-4C32-8C20-74A5A018073D}" type="presParOf" srcId="{41B114B4-2075-481F-8666-65F14F2E771D}" destId="{6B8532DA-A002-4BDB-9063-DB94DCA0C567}" srcOrd="5" destOrd="0" presId="urn:microsoft.com/office/officeart/2005/8/layout/vList6"/>
    <dgm:cxn modelId="{F3C69591-406B-4C9A-ACED-0D3ED132185D}" type="presParOf" srcId="{41B114B4-2075-481F-8666-65F14F2E771D}" destId="{E5B2ED6C-AE68-44CD-8657-CA3977AF12CD}" srcOrd="6" destOrd="0" presId="urn:microsoft.com/office/officeart/2005/8/layout/vList6"/>
    <dgm:cxn modelId="{1B1D2DB8-F178-4834-A675-7B7CCFD97BD8}" type="presParOf" srcId="{E5B2ED6C-AE68-44CD-8657-CA3977AF12CD}" destId="{19D55732-39F8-4659-9F37-B937D64447A3}" srcOrd="0" destOrd="0" presId="urn:microsoft.com/office/officeart/2005/8/layout/vList6"/>
    <dgm:cxn modelId="{ED56B919-FBC5-4C76-B084-266F255586B2}" type="presParOf" srcId="{E5B2ED6C-AE68-44CD-8657-CA3977AF12CD}" destId="{B61DEA13-FD87-4FB8-AB97-821EA9B9B040}"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3FD921-6DE9-48F3-8999-C12958F5E883}"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A118B11D-B6BB-48DD-AD9C-C35C36378646}">
      <dgm:prSet/>
      <dgm:spPr/>
      <dgm:t>
        <a:bodyPr/>
        <a:lstStyle/>
        <a:p>
          <a:r>
            <a:rPr lang="en-US" baseline="0" dirty="0"/>
            <a:t>Execution count</a:t>
          </a:r>
          <a:endParaRPr lang="en-US" dirty="0"/>
        </a:p>
      </dgm:t>
    </dgm:pt>
    <dgm:pt modelId="{4ACE8C65-D436-4C19-8616-4704BF458D4F}" type="parTrans" cxnId="{96F1D2DE-0426-407E-B279-3CCBC784E5F0}">
      <dgm:prSet/>
      <dgm:spPr/>
      <dgm:t>
        <a:bodyPr/>
        <a:lstStyle/>
        <a:p>
          <a:endParaRPr lang="en-US"/>
        </a:p>
      </dgm:t>
    </dgm:pt>
    <dgm:pt modelId="{E51CE05F-E590-433D-BE7B-BCBFFCEE8D81}" type="sibTrans" cxnId="{96F1D2DE-0426-407E-B279-3CCBC784E5F0}">
      <dgm:prSet/>
      <dgm:spPr/>
      <dgm:t>
        <a:bodyPr/>
        <a:lstStyle/>
        <a:p>
          <a:endParaRPr lang="en-US"/>
        </a:p>
      </dgm:t>
    </dgm:pt>
    <dgm:pt modelId="{846D2057-5414-45C4-98B4-7CA0DD0D6675}">
      <dgm:prSet/>
      <dgm:spPr/>
      <dgm:t>
        <a:bodyPr/>
        <a:lstStyle/>
        <a:p>
          <a:r>
            <a:rPr lang="en-US" dirty="0"/>
            <a:t>Worker time</a:t>
          </a:r>
        </a:p>
      </dgm:t>
    </dgm:pt>
    <dgm:pt modelId="{940A18CD-47AA-4BCC-9340-A52AAC03ABA9}" type="parTrans" cxnId="{515E6093-0B85-4604-9AA7-81DC48D2F7E9}">
      <dgm:prSet/>
      <dgm:spPr/>
      <dgm:t>
        <a:bodyPr/>
        <a:lstStyle/>
        <a:p>
          <a:endParaRPr lang="en-US"/>
        </a:p>
      </dgm:t>
    </dgm:pt>
    <dgm:pt modelId="{751DD2C6-1089-4DA5-A1C7-160ACC842AFC}" type="sibTrans" cxnId="{515E6093-0B85-4604-9AA7-81DC48D2F7E9}">
      <dgm:prSet/>
      <dgm:spPr/>
      <dgm:t>
        <a:bodyPr/>
        <a:lstStyle/>
        <a:p>
          <a:endParaRPr lang="en-US"/>
        </a:p>
      </dgm:t>
    </dgm:pt>
    <dgm:pt modelId="{B3C92D0E-CBEB-408C-BBA8-012C9D0B8531}">
      <dgm:prSet/>
      <dgm:spPr/>
      <dgm:t>
        <a:bodyPr/>
        <a:lstStyle/>
        <a:p>
          <a:r>
            <a:rPr lang="en-US" baseline="0" dirty="0"/>
            <a:t>Physical read</a:t>
          </a:r>
          <a:endParaRPr lang="en-US" dirty="0"/>
        </a:p>
      </dgm:t>
    </dgm:pt>
    <dgm:pt modelId="{D3F2243A-A480-480B-AA32-B0E05342195F}" type="parTrans" cxnId="{5A52FFE9-5DDC-4AAD-8A36-5A9ED37B2D3C}">
      <dgm:prSet/>
      <dgm:spPr/>
      <dgm:t>
        <a:bodyPr/>
        <a:lstStyle/>
        <a:p>
          <a:endParaRPr lang="en-US"/>
        </a:p>
      </dgm:t>
    </dgm:pt>
    <dgm:pt modelId="{E602A4AF-1DC3-419D-AA49-C657FBEF3D27}" type="sibTrans" cxnId="{5A52FFE9-5DDC-4AAD-8A36-5A9ED37B2D3C}">
      <dgm:prSet/>
      <dgm:spPr/>
      <dgm:t>
        <a:bodyPr/>
        <a:lstStyle/>
        <a:p>
          <a:endParaRPr lang="en-US"/>
        </a:p>
      </dgm:t>
    </dgm:pt>
    <dgm:pt modelId="{4C805EDD-7620-421C-B822-7EF0DCB047BC}">
      <dgm:prSet/>
      <dgm:spPr/>
      <dgm:t>
        <a:bodyPr/>
        <a:lstStyle/>
        <a:p>
          <a:r>
            <a:rPr lang="en-US" baseline="0" dirty="0"/>
            <a:t>Logical reads</a:t>
          </a:r>
          <a:endParaRPr lang="en-US" dirty="0"/>
        </a:p>
      </dgm:t>
    </dgm:pt>
    <dgm:pt modelId="{6454531E-D3B5-4CCF-9D65-B9C25BF891D5}" type="parTrans" cxnId="{E260FB7D-E3D9-4FC6-B010-3697CDFA358D}">
      <dgm:prSet/>
      <dgm:spPr/>
      <dgm:t>
        <a:bodyPr/>
        <a:lstStyle/>
        <a:p>
          <a:endParaRPr lang="en-US"/>
        </a:p>
      </dgm:t>
    </dgm:pt>
    <dgm:pt modelId="{A43ECC7E-9E1B-44C3-954D-1E205CF7448E}" type="sibTrans" cxnId="{E260FB7D-E3D9-4FC6-B010-3697CDFA358D}">
      <dgm:prSet/>
      <dgm:spPr/>
      <dgm:t>
        <a:bodyPr/>
        <a:lstStyle/>
        <a:p>
          <a:endParaRPr lang="en-US"/>
        </a:p>
      </dgm:t>
    </dgm:pt>
    <dgm:pt modelId="{C0A4DDD8-8C1E-4B37-9E15-A80844D56A62}">
      <dgm:prSet/>
      <dgm:spPr/>
      <dgm:t>
        <a:bodyPr/>
        <a:lstStyle/>
        <a:p>
          <a:r>
            <a:rPr lang="en-US" baseline="0" dirty="0"/>
            <a:t>Memory consumption</a:t>
          </a:r>
          <a:endParaRPr lang="en-US" dirty="0"/>
        </a:p>
      </dgm:t>
    </dgm:pt>
    <dgm:pt modelId="{D0043AFD-56AA-4CC4-85C7-CE53084EECD0}" type="parTrans" cxnId="{11EA69D1-9935-45DB-BBFC-F089EAE66033}">
      <dgm:prSet/>
      <dgm:spPr/>
      <dgm:t>
        <a:bodyPr/>
        <a:lstStyle/>
        <a:p>
          <a:endParaRPr lang="en-US"/>
        </a:p>
      </dgm:t>
    </dgm:pt>
    <dgm:pt modelId="{B6AF65F0-FCC4-41CF-8DAA-812CD7ACDA6A}" type="sibTrans" cxnId="{11EA69D1-9935-45DB-BBFC-F089EAE66033}">
      <dgm:prSet/>
      <dgm:spPr/>
      <dgm:t>
        <a:bodyPr/>
        <a:lstStyle/>
        <a:p>
          <a:endParaRPr lang="en-US"/>
        </a:p>
      </dgm:t>
    </dgm:pt>
    <dgm:pt modelId="{2FA8E964-E5DA-46B4-939E-5CBDDC5CA756}">
      <dgm:prSet/>
      <dgm:spPr/>
      <dgm:t>
        <a:bodyPr/>
        <a:lstStyle/>
        <a:p>
          <a:r>
            <a:rPr lang="en-US" dirty="0"/>
            <a:t>Elapsed time</a:t>
          </a:r>
        </a:p>
      </dgm:t>
    </dgm:pt>
    <dgm:pt modelId="{5E2DC8D1-CA44-4E04-90F6-D84367A2775D}" type="parTrans" cxnId="{5973163C-46D6-48B6-AB22-BE2AFC244EDC}">
      <dgm:prSet/>
      <dgm:spPr/>
      <dgm:t>
        <a:bodyPr/>
        <a:lstStyle/>
        <a:p>
          <a:endParaRPr lang="en-US"/>
        </a:p>
      </dgm:t>
    </dgm:pt>
    <dgm:pt modelId="{BBE10C00-3D5C-47B0-8B10-D4B152FE5B8F}" type="sibTrans" cxnId="{5973163C-46D6-48B6-AB22-BE2AFC244EDC}">
      <dgm:prSet/>
      <dgm:spPr/>
      <dgm:t>
        <a:bodyPr/>
        <a:lstStyle/>
        <a:p>
          <a:endParaRPr lang="en-US"/>
        </a:p>
      </dgm:t>
    </dgm:pt>
    <dgm:pt modelId="{2F85516D-35C1-4A66-BA98-02006992FADF}">
      <dgm:prSet/>
      <dgm:spPr/>
      <dgm:t>
        <a:bodyPr/>
        <a:lstStyle/>
        <a:p>
          <a:r>
            <a:rPr lang="en-US" dirty="0"/>
            <a:t>Row count</a:t>
          </a:r>
        </a:p>
      </dgm:t>
    </dgm:pt>
    <dgm:pt modelId="{323F9B53-9E87-4D35-A6C4-83A6B12DF6D6}" type="parTrans" cxnId="{8CC3D771-816E-492F-97F3-3B8E13A4B55C}">
      <dgm:prSet/>
      <dgm:spPr/>
      <dgm:t>
        <a:bodyPr/>
        <a:lstStyle/>
        <a:p>
          <a:endParaRPr lang="en-US"/>
        </a:p>
      </dgm:t>
    </dgm:pt>
    <dgm:pt modelId="{399AF144-B35D-4264-95D6-2587445A3A30}" type="sibTrans" cxnId="{8CC3D771-816E-492F-97F3-3B8E13A4B55C}">
      <dgm:prSet/>
      <dgm:spPr/>
      <dgm:t>
        <a:bodyPr/>
        <a:lstStyle/>
        <a:p>
          <a:endParaRPr lang="en-US"/>
        </a:p>
      </dgm:t>
    </dgm:pt>
    <dgm:pt modelId="{4D3D9F9E-491F-48D4-8D24-983916AA90A4}">
      <dgm:prSet/>
      <dgm:spPr/>
      <dgm:t>
        <a:bodyPr/>
        <a:lstStyle/>
        <a:p>
          <a:r>
            <a:rPr lang="en-US" dirty="0"/>
            <a:t>Spills</a:t>
          </a:r>
        </a:p>
      </dgm:t>
    </dgm:pt>
    <dgm:pt modelId="{D37895DB-1D33-44E5-913C-21E1F3E16075}" type="parTrans" cxnId="{94DC4887-BA2D-4A42-B65E-6FCBF86853AB}">
      <dgm:prSet/>
      <dgm:spPr/>
      <dgm:t>
        <a:bodyPr/>
        <a:lstStyle/>
        <a:p>
          <a:endParaRPr lang="en-US"/>
        </a:p>
      </dgm:t>
    </dgm:pt>
    <dgm:pt modelId="{F522D55D-04C0-4281-B259-A7DF7DA04F20}" type="sibTrans" cxnId="{94DC4887-BA2D-4A42-B65E-6FCBF86853AB}">
      <dgm:prSet/>
      <dgm:spPr/>
      <dgm:t>
        <a:bodyPr/>
        <a:lstStyle/>
        <a:p>
          <a:endParaRPr lang="en-US"/>
        </a:p>
      </dgm:t>
    </dgm:pt>
    <dgm:pt modelId="{E72D0B29-E0E4-4566-B4DE-7050BC8D47A5}" type="pres">
      <dgm:prSet presAssocID="{C33FD921-6DE9-48F3-8999-C12958F5E883}" presName="linear" presStyleCnt="0">
        <dgm:presLayoutVars>
          <dgm:animLvl val="lvl"/>
          <dgm:resizeHandles val="exact"/>
        </dgm:presLayoutVars>
      </dgm:prSet>
      <dgm:spPr/>
    </dgm:pt>
    <dgm:pt modelId="{CA9FD43F-B116-44D8-A634-5BFAE6E1AA90}" type="pres">
      <dgm:prSet presAssocID="{A118B11D-B6BB-48DD-AD9C-C35C36378646}" presName="parentText" presStyleLbl="node1" presStyleIdx="0" presStyleCnt="8">
        <dgm:presLayoutVars>
          <dgm:chMax val="0"/>
          <dgm:bulletEnabled val="1"/>
        </dgm:presLayoutVars>
      </dgm:prSet>
      <dgm:spPr/>
    </dgm:pt>
    <dgm:pt modelId="{87A6E5F2-D623-4050-8F92-65FD2BC8C955}" type="pres">
      <dgm:prSet presAssocID="{E51CE05F-E590-433D-BE7B-BCBFFCEE8D81}" presName="spacer" presStyleCnt="0"/>
      <dgm:spPr/>
    </dgm:pt>
    <dgm:pt modelId="{2188DE46-950A-44E0-A8B0-CD8EFEA6C151}" type="pres">
      <dgm:prSet presAssocID="{846D2057-5414-45C4-98B4-7CA0DD0D6675}" presName="parentText" presStyleLbl="node1" presStyleIdx="1" presStyleCnt="8">
        <dgm:presLayoutVars>
          <dgm:chMax val="0"/>
          <dgm:bulletEnabled val="1"/>
        </dgm:presLayoutVars>
      </dgm:prSet>
      <dgm:spPr/>
    </dgm:pt>
    <dgm:pt modelId="{543061D1-B872-42C5-9EDD-1508DF1B7DC8}" type="pres">
      <dgm:prSet presAssocID="{751DD2C6-1089-4DA5-A1C7-160ACC842AFC}" presName="spacer" presStyleCnt="0"/>
      <dgm:spPr/>
    </dgm:pt>
    <dgm:pt modelId="{00AC3774-2F5B-41F4-9613-FD78AB0A3D33}" type="pres">
      <dgm:prSet presAssocID="{B3C92D0E-CBEB-408C-BBA8-012C9D0B8531}" presName="parentText" presStyleLbl="node1" presStyleIdx="2" presStyleCnt="8">
        <dgm:presLayoutVars>
          <dgm:chMax val="0"/>
          <dgm:bulletEnabled val="1"/>
        </dgm:presLayoutVars>
      </dgm:prSet>
      <dgm:spPr/>
    </dgm:pt>
    <dgm:pt modelId="{A52BD233-DFEF-47CE-BCA8-5A86CDA5F78A}" type="pres">
      <dgm:prSet presAssocID="{E602A4AF-1DC3-419D-AA49-C657FBEF3D27}" presName="spacer" presStyleCnt="0"/>
      <dgm:spPr/>
    </dgm:pt>
    <dgm:pt modelId="{ADB81461-1BAD-42E8-8951-7926DFB44DB9}" type="pres">
      <dgm:prSet presAssocID="{4C805EDD-7620-421C-B822-7EF0DCB047BC}" presName="parentText" presStyleLbl="node1" presStyleIdx="3" presStyleCnt="8">
        <dgm:presLayoutVars>
          <dgm:chMax val="0"/>
          <dgm:bulletEnabled val="1"/>
        </dgm:presLayoutVars>
      </dgm:prSet>
      <dgm:spPr/>
    </dgm:pt>
    <dgm:pt modelId="{D61EC79D-179B-4098-A26D-7DCAEC58638F}" type="pres">
      <dgm:prSet presAssocID="{A43ECC7E-9E1B-44C3-954D-1E205CF7448E}" presName="spacer" presStyleCnt="0"/>
      <dgm:spPr/>
    </dgm:pt>
    <dgm:pt modelId="{AC47D6B1-4844-4DF3-A3BB-850F4BBCC674}" type="pres">
      <dgm:prSet presAssocID="{2FA8E964-E5DA-46B4-939E-5CBDDC5CA756}" presName="parentText" presStyleLbl="node1" presStyleIdx="4" presStyleCnt="8">
        <dgm:presLayoutVars>
          <dgm:chMax val="0"/>
          <dgm:bulletEnabled val="1"/>
        </dgm:presLayoutVars>
      </dgm:prSet>
      <dgm:spPr/>
    </dgm:pt>
    <dgm:pt modelId="{846642A2-033F-4DA7-A40E-64414758E485}" type="pres">
      <dgm:prSet presAssocID="{BBE10C00-3D5C-47B0-8B10-D4B152FE5B8F}" presName="spacer" presStyleCnt="0"/>
      <dgm:spPr/>
    </dgm:pt>
    <dgm:pt modelId="{A4B8DADE-7CBD-4991-BE41-E0572C3734D1}" type="pres">
      <dgm:prSet presAssocID="{2F85516D-35C1-4A66-BA98-02006992FADF}" presName="parentText" presStyleLbl="node1" presStyleIdx="5" presStyleCnt="8">
        <dgm:presLayoutVars>
          <dgm:chMax val="0"/>
          <dgm:bulletEnabled val="1"/>
        </dgm:presLayoutVars>
      </dgm:prSet>
      <dgm:spPr/>
    </dgm:pt>
    <dgm:pt modelId="{921B7E6A-D53D-4AC2-B7FF-C130B61BCC8D}" type="pres">
      <dgm:prSet presAssocID="{399AF144-B35D-4264-95D6-2587445A3A30}" presName="spacer" presStyleCnt="0"/>
      <dgm:spPr/>
    </dgm:pt>
    <dgm:pt modelId="{18BBA3A3-5B22-4686-A138-349B603E9E3D}" type="pres">
      <dgm:prSet presAssocID="{C0A4DDD8-8C1E-4B37-9E15-A80844D56A62}" presName="parentText" presStyleLbl="node1" presStyleIdx="6" presStyleCnt="8">
        <dgm:presLayoutVars>
          <dgm:chMax val="0"/>
          <dgm:bulletEnabled val="1"/>
        </dgm:presLayoutVars>
      </dgm:prSet>
      <dgm:spPr/>
    </dgm:pt>
    <dgm:pt modelId="{5C8FC200-0550-4782-9759-2AB0AFF17B62}" type="pres">
      <dgm:prSet presAssocID="{B6AF65F0-FCC4-41CF-8DAA-812CD7ACDA6A}" presName="spacer" presStyleCnt="0"/>
      <dgm:spPr/>
    </dgm:pt>
    <dgm:pt modelId="{F2C617A2-4343-4A54-A451-84BA96676C27}" type="pres">
      <dgm:prSet presAssocID="{4D3D9F9E-491F-48D4-8D24-983916AA90A4}" presName="parentText" presStyleLbl="node1" presStyleIdx="7" presStyleCnt="8">
        <dgm:presLayoutVars>
          <dgm:chMax val="0"/>
          <dgm:bulletEnabled val="1"/>
        </dgm:presLayoutVars>
      </dgm:prSet>
      <dgm:spPr/>
    </dgm:pt>
  </dgm:ptLst>
  <dgm:cxnLst>
    <dgm:cxn modelId="{5973163C-46D6-48B6-AB22-BE2AFC244EDC}" srcId="{C33FD921-6DE9-48F3-8999-C12958F5E883}" destId="{2FA8E964-E5DA-46B4-939E-5CBDDC5CA756}" srcOrd="4" destOrd="0" parTransId="{5E2DC8D1-CA44-4E04-90F6-D84367A2775D}" sibTransId="{BBE10C00-3D5C-47B0-8B10-D4B152FE5B8F}"/>
    <dgm:cxn modelId="{8CC3D771-816E-492F-97F3-3B8E13A4B55C}" srcId="{C33FD921-6DE9-48F3-8999-C12958F5E883}" destId="{2F85516D-35C1-4A66-BA98-02006992FADF}" srcOrd="5" destOrd="0" parTransId="{323F9B53-9E87-4D35-A6C4-83A6B12DF6D6}" sibTransId="{399AF144-B35D-4264-95D6-2587445A3A30}"/>
    <dgm:cxn modelId="{E9CF7B59-9FDC-44D2-B532-DD86DE41B69F}" type="presOf" srcId="{4D3D9F9E-491F-48D4-8D24-983916AA90A4}" destId="{F2C617A2-4343-4A54-A451-84BA96676C27}" srcOrd="0" destOrd="0" presId="urn:microsoft.com/office/officeart/2005/8/layout/vList2"/>
    <dgm:cxn modelId="{E260FB7D-E3D9-4FC6-B010-3697CDFA358D}" srcId="{C33FD921-6DE9-48F3-8999-C12958F5E883}" destId="{4C805EDD-7620-421C-B822-7EF0DCB047BC}" srcOrd="3" destOrd="0" parTransId="{6454531E-D3B5-4CCF-9D65-B9C25BF891D5}" sibTransId="{A43ECC7E-9E1B-44C3-954D-1E205CF7448E}"/>
    <dgm:cxn modelId="{94DC4887-BA2D-4A42-B65E-6FCBF86853AB}" srcId="{C33FD921-6DE9-48F3-8999-C12958F5E883}" destId="{4D3D9F9E-491F-48D4-8D24-983916AA90A4}" srcOrd="7" destOrd="0" parTransId="{D37895DB-1D33-44E5-913C-21E1F3E16075}" sibTransId="{F522D55D-04C0-4281-B259-A7DF7DA04F20}"/>
    <dgm:cxn modelId="{4F12DC8B-7DC5-4FA8-AA25-86BE434A5119}" type="presOf" srcId="{4C805EDD-7620-421C-B822-7EF0DCB047BC}" destId="{ADB81461-1BAD-42E8-8951-7926DFB44DB9}" srcOrd="0" destOrd="0" presId="urn:microsoft.com/office/officeart/2005/8/layout/vList2"/>
    <dgm:cxn modelId="{F53D2590-D210-4AAC-BFEF-ABEBEF49C8F8}" type="presOf" srcId="{C0A4DDD8-8C1E-4B37-9E15-A80844D56A62}" destId="{18BBA3A3-5B22-4686-A138-349B603E9E3D}" srcOrd="0" destOrd="0" presId="urn:microsoft.com/office/officeart/2005/8/layout/vList2"/>
    <dgm:cxn modelId="{29E4A092-80E0-475B-A619-BBED6050BB66}" type="presOf" srcId="{2F85516D-35C1-4A66-BA98-02006992FADF}" destId="{A4B8DADE-7CBD-4991-BE41-E0572C3734D1}" srcOrd="0" destOrd="0" presId="urn:microsoft.com/office/officeart/2005/8/layout/vList2"/>
    <dgm:cxn modelId="{515E6093-0B85-4604-9AA7-81DC48D2F7E9}" srcId="{C33FD921-6DE9-48F3-8999-C12958F5E883}" destId="{846D2057-5414-45C4-98B4-7CA0DD0D6675}" srcOrd="1" destOrd="0" parTransId="{940A18CD-47AA-4BCC-9340-A52AAC03ABA9}" sibTransId="{751DD2C6-1089-4DA5-A1C7-160ACC842AFC}"/>
    <dgm:cxn modelId="{4AA5CBA5-3BC8-4ACD-A7E7-ED7B12E364AD}" type="presOf" srcId="{B3C92D0E-CBEB-408C-BBA8-012C9D0B8531}" destId="{00AC3774-2F5B-41F4-9613-FD78AB0A3D33}" srcOrd="0" destOrd="0" presId="urn:microsoft.com/office/officeart/2005/8/layout/vList2"/>
    <dgm:cxn modelId="{FC8254A8-D1C5-4487-B9FD-E87C284F1463}" type="presOf" srcId="{846D2057-5414-45C4-98B4-7CA0DD0D6675}" destId="{2188DE46-950A-44E0-A8B0-CD8EFEA6C151}" srcOrd="0" destOrd="0" presId="urn:microsoft.com/office/officeart/2005/8/layout/vList2"/>
    <dgm:cxn modelId="{C46FC2BE-B93D-47A9-AD24-B1A5D82EFE23}" type="presOf" srcId="{A118B11D-B6BB-48DD-AD9C-C35C36378646}" destId="{CA9FD43F-B116-44D8-A634-5BFAE6E1AA90}" srcOrd="0" destOrd="0" presId="urn:microsoft.com/office/officeart/2005/8/layout/vList2"/>
    <dgm:cxn modelId="{86A0AACF-7236-4B67-9452-7EDC8647D0B0}" type="presOf" srcId="{2FA8E964-E5DA-46B4-939E-5CBDDC5CA756}" destId="{AC47D6B1-4844-4DF3-A3BB-850F4BBCC674}" srcOrd="0" destOrd="0" presId="urn:microsoft.com/office/officeart/2005/8/layout/vList2"/>
    <dgm:cxn modelId="{11EA69D1-9935-45DB-BBFC-F089EAE66033}" srcId="{C33FD921-6DE9-48F3-8999-C12958F5E883}" destId="{C0A4DDD8-8C1E-4B37-9E15-A80844D56A62}" srcOrd="6" destOrd="0" parTransId="{D0043AFD-56AA-4CC4-85C7-CE53084EECD0}" sibTransId="{B6AF65F0-FCC4-41CF-8DAA-812CD7ACDA6A}"/>
    <dgm:cxn modelId="{96F1D2DE-0426-407E-B279-3CCBC784E5F0}" srcId="{C33FD921-6DE9-48F3-8999-C12958F5E883}" destId="{A118B11D-B6BB-48DD-AD9C-C35C36378646}" srcOrd="0" destOrd="0" parTransId="{4ACE8C65-D436-4C19-8616-4704BF458D4F}" sibTransId="{E51CE05F-E590-433D-BE7B-BCBFFCEE8D81}"/>
    <dgm:cxn modelId="{5A52FFE9-5DDC-4AAD-8A36-5A9ED37B2D3C}" srcId="{C33FD921-6DE9-48F3-8999-C12958F5E883}" destId="{B3C92D0E-CBEB-408C-BBA8-012C9D0B8531}" srcOrd="2" destOrd="0" parTransId="{D3F2243A-A480-480B-AA32-B0E05342195F}" sibTransId="{E602A4AF-1DC3-419D-AA49-C657FBEF3D27}"/>
    <dgm:cxn modelId="{55594DEF-7E12-49C0-A81A-441938EF4EC5}" type="presOf" srcId="{C33FD921-6DE9-48F3-8999-C12958F5E883}" destId="{E72D0B29-E0E4-4566-B4DE-7050BC8D47A5}" srcOrd="0" destOrd="0" presId="urn:microsoft.com/office/officeart/2005/8/layout/vList2"/>
    <dgm:cxn modelId="{07F8F5EA-5883-4CF0-943A-8A49E8C382EE}" type="presParOf" srcId="{E72D0B29-E0E4-4566-B4DE-7050BC8D47A5}" destId="{CA9FD43F-B116-44D8-A634-5BFAE6E1AA90}" srcOrd="0" destOrd="0" presId="urn:microsoft.com/office/officeart/2005/8/layout/vList2"/>
    <dgm:cxn modelId="{33EF6DED-3590-4CDD-B238-616B8BCFEEF1}" type="presParOf" srcId="{E72D0B29-E0E4-4566-B4DE-7050BC8D47A5}" destId="{87A6E5F2-D623-4050-8F92-65FD2BC8C955}" srcOrd="1" destOrd="0" presId="urn:microsoft.com/office/officeart/2005/8/layout/vList2"/>
    <dgm:cxn modelId="{DAFF6138-5DF2-445C-8995-C37DC7C76C5D}" type="presParOf" srcId="{E72D0B29-E0E4-4566-B4DE-7050BC8D47A5}" destId="{2188DE46-950A-44E0-A8B0-CD8EFEA6C151}" srcOrd="2" destOrd="0" presId="urn:microsoft.com/office/officeart/2005/8/layout/vList2"/>
    <dgm:cxn modelId="{EDCED811-4423-4C02-A6BC-DBB1BC9390EF}" type="presParOf" srcId="{E72D0B29-E0E4-4566-B4DE-7050BC8D47A5}" destId="{543061D1-B872-42C5-9EDD-1508DF1B7DC8}" srcOrd="3" destOrd="0" presId="urn:microsoft.com/office/officeart/2005/8/layout/vList2"/>
    <dgm:cxn modelId="{10C3BC17-AB49-47DA-B0FB-1A6782B6D9E5}" type="presParOf" srcId="{E72D0B29-E0E4-4566-B4DE-7050BC8D47A5}" destId="{00AC3774-2F5B-41F4-9613-FD78AB0A3D33}" srcOrd="4" destOrd="0" presId="urn:microsoft.com/office/officeart/2005/8/layout/vList2"/>
    <dgm:cxn modelId="{01766CB6-417A-4B46-9ED1-BCD9824F13EC}" type="presParOf" srcId="{E72D0B29-E0E4-4566-B4DE-7050BC8D47A5}" destId="{A52BD233-DFEF-47CE-BCA8-5A86CDA5F78A}" srcOrd="5" destOrd="0" presId="urn:microsoft.com/office/officeart/2005/8/layout/vList2"/>
    <dgm:cxn modelId="{851A38BA-FC85-414A-9EE9-01D3D119943C}" type="presParOf" srcId="{E72D0B29-E0E4-4566-B4DE-7050BC8D47A5}" destId="{ADB81461-1BAD-42E8-8951-7926DFB44DB9}" srcOrd="6" destOrd="0" presId="urn:microsoft.com/office/officeart/2005/8/layout/vList2"/>
    <dgm:cxn modelId="{60287A26-C524-4B24-88D7-F7F23F984C17}" type="presParOf" srcId="{E72D0B29-E0E4-4566-B4DE-7050BC8D47A5}" destId="{D61EC79D-179B-4098-A26D-7DCAEC58638F}" srcOrd="7" destOrd="0" presId="urn:microsoft.com/office/officeart/2005/8/layout/vList2"/>
    <dgm:cxn modelId="{EAB443AD-DAFC-4C7E-828A-66EA7AA12B32}" type="presParOf" srcId="{E72D0B29-E0E4-4566-B4DE-7050BC8D47A5}" destId="{AC47D6B1-4844-4DF3-A3BB-850F4BBCC674}" srcOrd="8" destOrd="0" presId="urn:microsoft.com/office/officeart/2005/8/layout/vList2"/>
    <dgm:cxn modelId="{8B887929-8B3F-4245-AF74-6EBFF8F4E0D5}" type="presParOf" srcId="{E72D0B29-E0E4-4566-B4DE-7050BC8D47A5}" destId="{846642A2-033F-4DA7-A40E-64414758E485}" srcOrd="9" destOrd="0" presId="urn:microsoft.com/office/officeart/2005/8/layout/vList2"/>
    <dgm:cxn modelId="{A9F5413E-4073-47F5-B488-54848ADD7DCF}" type="presParOf" srcId="{E72D0B29-E0E4-4566-B4DE-7050BC8D47A5}" destId="{A4B8DADE-7CBD-4991-BE41-E0572C3734D1}" srcOrd="10" destOrd="0" presId="urn:microsoft.com/office/officeart/2005/8/layout/vList2"/>
    <dgm:cxn modelId="{0C3DF8BC-95B9-4C1C-86BC-BB1054C37DAA}" type="presParOf" srcId="{E72D0B29-E0E4-4566-B4DE-7050BC8D47A5}" destId="{921B7E6A-D53D-4AC2-B7FF-C130B61BCC8D}" srcOrd="11" destOrd="0" presId="urn:microsoft.com/office/officeart/2005/8/layout/vList2"/>
    <dgm:cxn modelId="{2907E753-7931-414C-B388-6E9ED957BD48}" type="presParOf" srcId="{E72D0B29-E0E4-4566-B4DE-7050BC8D47A5}" destId="{18BBA3A3-5B22-4686-A138-349B603E9E3D}" srcOrd="12" destOrd="0" presId="urn:microsoft.com/office/officeart/2005/8/layout/vList2"/>
    <dgm:cxn modelId="{3915EFF6-4EBF-49AF-8B3A-82D1073D8FAC}" type="presParOf" srcId="{E72D0B29-E0E4-4566-B4DE-7050BC8D47A5}" destId="{5C8FC200-0550-4782-9759-2AB0AFF17B62}" srcOrd="13" destOrd="0" presId="urn:microsoft.com/office/officeart/2005/8/layout/vList2"/>
    <dgm:cxn modelId="{76780184-A8B7-4D65-A2AE-A8580E3F1A52}" type="presParOf" srcId="{E72D0B29-E0E4-4566-B4DE-7050BC8D47A5}" destId="{F2C617A2-4343-4A54-A451-84BA96676C27}"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AB5958-98AE-40E1-A2BC-F86615DC227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CD1F75D-2D97-44B6-A92E-EC894FC36B47}">
      <dgm:prSet custT="1"/>
      <dgm:spPr/>
      <dgm:t>
        <a:bodyPr/>
        <a:lstStyle/>
        <a:p>
          <a:r>
            <a:rPr lang="en-US" sz="2400" baseline="0" dirty="0"/>
            <a:t>Aggregate statistics</a:t>
          </a:r>
          <a:endParaRPr lang="en-US" sz="2400" dirty="0"/>
        </a:p>
      </dgm:t>
    </dgm:pt>
    <dgm:pt modelId="{9FE8E6AC-5701-4D6B-A913-DEDE92F7D941}" type="parTrans" cxnId="{1DFA3628-3410-48AE-B712-78A93C680D4D}">
      <dgm:prSet/>
      <dgm:spPr/>
      <dgm:t>
        <a:bodyPr/>
        <a:lstStyle/>
        <a:p>
          <a:endParaRPr lang="en-US"/>
        </a:p>
      </dgm:t>
    </dgm:pt>
    <dgm:pt modelId="{DD27E47A-3149-4600-960F-15C0F9BAEE9F}" type="sibTrans" cxnId="{1DFA3628-3410-48AE-B712-78A93C680D4D}">
      <dgm:prSet/>
      <dgm:spPr/>
      <dgm:t>
        <a:bodyPr/>
        <a:lstStyle/>
        <a:p>
          <a:endParaRPr lang="en-US"/>
        </a:p>
      </dgm:t>
    </dgm:pt>
    <dgm:pt modelId="{A9C32C13-B177-4B93-A47D-30D57A824AF9}">
      <dgm:prSet custT="1"/>
      <dgm:spPr/>
      <dgm:t>
        <a:bodyPr/>
        <a:lstStyle/>
        <a:p>
          <a:r>
            <a:rPr lang="en-US" sz="2400" baseline="0" dirty="0"/>
            <a:t>Total</a:t>
          </a:r>
          <a:endParaRPr lang="en-US" sz="2400" dirty="0"/>
        </a:p>
      </dgm:t>
    </dgm:pt>
    <dgm:pt modelId="{703F067C-741F-4258-B8BA-89D921E963CE}" type="parTrans" cxnId="{A45EBB10-FCE5-433A-83DF-1FCE4B96C5F6}">
      <dgm:prSet/>
      <dgm:spPr/>
      <dgm:t>
        <a:bodyPr/>
        <a:lstStyle/>
        <a:p>
          <a:endParaRPr lang="en-US"/>
        </a:p>
      </dgm:t>
    </dgm:pt>
    <dgm:pt modelId="{E7A0F065-0970-49E3-9192-65570AF32302}" type="sibTrans" cxnId="{A45EBB10-FCE5-433A-83DF-1FCE4B96C5F6}">
      <dgm:prSet/>
      <dgm:spPr/>
      <dgm:t>
        <a:bodyPr/>
        <a:lstStyle/>
        <a:p>
          <a:endParaRPr lang="en-US"/>
        </a:p>
      </dgm:t>
    </dgm:pt>
    <dgm:pt modelId="{CF11DFE6-E9E5-4BA4-9CFC-99A24BE8D98C}">
      <dgm:prSet custT="1"/>
      <dgm:spPr/>
      <dgm:t>
        <a:bodyPr/>
        <a:lstStyle/>
        <a:p>
          <a:r>
            <a:rPr lang="en-US" sz="2400" baseline="0" dirty="0"/>
            <a:t>Last</a:t>
          </a:r>
          <a:endParaRPr lang="en-US" sz="2400" dirty="0"/>
        </a:p>
      </dgm:t>
    </dgm:pt>
    <dgm:pt modelId="{E8B47A28-7198-4C3C-83F2-C3B7BB4737FC}" type="parTrans" cxnId="{EE485B2B-A40D-40A7-AD92-E2EA5E4F1743}">
      <dgm:prSet/>
      <dgm:spPr/>
      <dgm:t>
        <a:bodyPr/>
        <a:lstStyle/>
        <a:p>
          <a:endParaRPr lang="en-US"/>
        </a:p>
      </dgm:t>
    </dgm:pt>
    <dgm:pt modelId="{D122DD9A-35D4-4CEF-91F4-00734711E5EE}" type="sibTrans" cxnId="{EE485B2B-A40D-40A7-AD92-E2EA5E4F1743}">
      <dgm:prSet/>
      <dgm:spPr/>
      <dgm:t>
        <a:bodyPr/>
        <a:lstStyle/>
        <a:p>
          <a:endParaRPr lang="en-US"/>
        </a:p>
      </dgm:t>
    </dgm:pt>
    <dgm:pt modelId="{EDC66B11-7884-435C-9BCD-F71825B3BFB3}">
      <dgm:prSet custT="1"/>
      <dgm:spPr/>
      <dgm:t>
        <a:bodyPr/>
        <a:lstStyle/>
        <a:p>
          <a:r>
            <a:rPr lang="en-US" sz="2400" baseline="0" dirty="0"/>
            <a:t>Max</a:t>
          </a:r>
          <a:endParaRPr lang="en-US" sz="2400" dirty="0"/>
        </a:p>
      </dgm:t>
    </dgm:pt>
    <dgm:pt modelId="{D6576EF1-4924-4BFC-8687-2570C7C1E078}" type="parTrans" cxnId="{72D73D71-AC6D-4DAE-B7FF-0B6FD23E36C0}">
      <dgm:prSet/>
      <dgm:spPr/>
      <dgm:t>
        <a:bodyPr/>
        <a:lstStyle/>
        <a:p>
          <a:endParaRPr lang="en-US"/>
        </a:p>
      </dgm:t>
    </dgm:pt>
    <dgm:pt modelId="{35368F70-B511-476C-8ED9-F18D5B08C6B9}" type="sibTrans" cxnId="{72D73D71-AC6D-4DAE-B7FF-0B6FD23E36C0}">
      <dgm:prSet/>
      <dgm:spPr/>
      <dgm:t>
        <a:bodyPr/>
        <a:lstStyle/>
        <a:p>
          <a:endParaRPr lang="en-US"/>
        </a:p>
      </dgm:t>
    </dgm:pt>
    <dgm:pt modelId="{537084F6-BBA0-4C15-8D50-9DD4CCB58849}">
      <dgm:prSet custT="1"/>
      <dgm:spPr/>
      <dgm:t>
        <a:bodyPr/>
        <a:lstStyle/>
        <a:p>
          <a:r>
            <a:rPr lang="en-US" sz="2400" baseline="0" dirty="0"/>
            <a:t>Min</a:t>
          </a:r>
          <a:endParaRPr lang="en-US" sz="2400" dirty="0"/>
        </a:p>
      </dgm:t>
    </dgm:pt>
    <dgm:pt modelId="{7F28854B-F647-4DA3-9091-1D4C748318FF}" type="parTrans" cxnId="{AE35DE90-A37F-4874-B342-3B559B6D1B02}">
      <dgm:prSet/>
      <dgm:spPr/>
      <dgm:t>
        <a:bodyPr/>
        <a:lstStyle/>
        <a:p>
          <a:endParaRPr lang="en-US"/>
        </a:p>
      </dgm:t>
    </dgm:pt>
    <dgm:pt modelId="{D4318215-1C82-46AB-A029-A5F6ED26B794}" type="sibTrans" cxnId="{AE35DE90-A37F-4874-B342-3B559B6D1B02}">
      <dgm:prSet/>
      <dgm:spPr/>
      <dgm:t>
        <a:bodyPr/>
        <a:lstStyle/>
        <a:p>
          <a:endParaRPr lang="en-US"/>
        </a:p>
      </dgm:t>
    </dgm:pt>
    <dgm:pt modelId="{0AB4B53A-5223-4FFC-82C3-2EACFB83BDEF}" type="pres">
      <dgm:prSet presAssocID="{72AB5958-98AE-40E1-A2BC-F86615DC227C}" presName="Name0" presStyleCnt="0">
        <dgm:presLayoutVars>
          <dgm:dir/>
          <dgm:animLvl val="lvl"/>
          <dgm:resizeHandles val="exact"/>
        </dgm:presLayoutVars>
      </dgm:prSet>
      <dgm:spPr/>
    </dgm:pt>
    <dgm:pt modelId="{EAACA03B-D71F-4A46-810F-D19F82A2238D}" type="pres">
      <dgm:prSet presAssocID="{DCD1F75D-2D97-44B6-A92E-EC894FC36B47}" presName="linNode" presStyleCnt="0"/>
      <dgm:spPr/>
    </dgm:pt>
    <dgm:pt modelId="{086FF4FD-422F-4991-98D0-CD9E311A2A35}" type="pres">
      <dgm:prSet presAssocID="{DCD1F75D-2D97-44B6-A92E-EC894FC36B47}" presName="parentText" presStyleLbl="node1" presStyleIdx="0" presStyleCnt="1">
        <dgm:presLayoutVars>
          <dgm:chMax val="1"/>
          <dgm:bulletEnabled val="1"/>
        </dgm:presLayoutVars>
      </dgm:prSet>
      <dgm:spPr/>
    </dgm:pt>
    <dgm:pt modelId="{88358F0B-3705-4BDE-875B-8462A329C789}" type="pres">
      <dgm:prSet presAssocID="{DCD1F75D-2D97-44B6-A92E-EC894FC36B47}" presName="descendantText" presStyleLbl="alignAccFollowNode1" presStyleIdx="0" presStyleCnt="1">
        <dgm:presLayoutVars>
          <dgm:bulletEnabled val="1"/>
        </dgm:presLayoutVars>
      </dgm:prSet>
      <dgm:spPr/>
    </dgm:pt>
  </dgm:ptLst>
  <dgm:cxnLst>
    <dgm:cxn modelId="{EF7E2504-179A-4BDE-8C66-FE40221E0C4A}" type="presOf" srcId="{DCD1F75D-2D97-44B6-A92E-EC894FC36B47}" destId="{086FF4FD-422F-4991-98D0-CD9E311A2A35}" srcOrd="0" destOrd="0" presId="urn:microsoft.com/office/officeart/2005/8/layout/vList5"/>
    <dgm:cxn modelId="{A45EBB10-FCE5-433A-83DF-1FCE4B96C5F6}" srcId="{DCD1F75D-2D97-44B6-A92E-EC894FC36B47}" destId="{A9C32C13-B177-4B93-A47D-30D57A824AF9}" srcOrd="0" destOrd="0" parTransId="{703F067C-741F-4258-B8BA-89D921E963CE}" sibTransId="{E7A0F065-0970-49E3-9192-65570AF32302}"/>
    <dgm:cxn modelId="{1DFA3628-3410-48AE-B712-78A93C680D4D}" srcId="{72AB5958-98AE-40E1-A2BC-F86615DC227C}" destId="{DCD1F75D-2D97-44B6-A92E-EC894FC36B47}" srcOrd="0" destOrd="0" parTransId="{9FE8E6AC-5701-4D6B-A913-DEDE92F7D941}" sibTransId="{DD27E47A-3149-4600-960F-15C0F9BAEE9F}"/>
    <dgm:cxn modelId="{EE485B2B-A40D-40A7-AD92-E2EA5E4F1743}" srcId="{DCD1F75D-2D97-44B6-A92E-EC894FC36B47}" destId="{CF11DFE6-E9E5-4BA4-9CFC-99A24BE8D98C}" srcOrd="1" destOrd="0" parTransId="{E8B47A28-7198-4C3C-83F2-C3B7BB4737FC}" sibTransId="{D122DD9A-35D4-4CEF-91F4-00734711E5EE}"/>
    <dgm:cxn modelId="{BDC71E30-2B1B-4698-B5C3-9C2E2224AE11}" type="presOf" srcId="{A9C32C13-B177-4B93-A47D-30D57A824AF9}" destId="{88358F0B-3705-4BDE-875B-8462A329C789}" srcOrd="0" destOrd="0" presId="urn:microsoft.com/office/officeart/2005/8/layout/vList5"/>
    <dgm:cxn modelId="{72D73D71-AC6D-4DAE-B7FF-0B6FD23E36C0}" srcId="{DCD1F75D-2D97-44B6-A92E-EC894FC36B47}" destId="{EDC66B11-7884-435C-9BCD-F71825B3BFB3}" srcOrd="3" destOrd="0" parTransId="{D6576EF1-4924-4BFC-8687-2570C7C1E078}" sibTransId="{35368F70-B511-476C-8ED9-F18D5B08C6B9}"/>
    <dgm:cxn modelId="{E05BD871-CE8D-4E3F-BE0E-BC09BFF73EA4}" type="presOf" srcId="{CF11DFE6-E9E5-4BA4-9CFC-99A24BE8D98C}" destId="{88358F0B-3705-4BDE-875B-8462A329C789}" srcOrd="0" destOrd="1" presId="urn:microsoft.com/office/officeart/2005/8/layout/vList5"/>
    <dgm:cxn modelId="{AE35DE90-A37F-4874-B342-3B559B6D1B02}" srcId="{DCD1F75D-2D97-44B6-A92E-EC894FC36B47}" destId="{537084F6-BBA0-4C15-8D50-9DD4CCB58849}" srcOrd="2" destOrd="0" parTransId="{7F28854B-F647-4DA3-9091-1D4C748318FF}" sibTransId="{D4318215-1C82-46AB-A029-A5F6ED26B794}"/>
    <dgm:cxn modelId="{5109A4C7-CA9D-43D4-9EB8-5B1C65798514}" type="presOf" srcId="{537084F6-BBA0-4C15-8D50-9DD4CCB58849}" destId="{88358F0B-3705-4BDE-875B-8462A329C789}" srcOrd="0" destOrd="2" presId="urn:microsoft.com/office/officeart/2005/8/layout/vList5"/>
    <dgm:cxn modelId="{412401D1-3D3D-45DA-8C48-C25322DBC6D5}" type="presOf" srcId="{EDC66B11-7884-435C-9BCD-F71825B3BFB3}" destId="{88358F0B-3705-4BDE-875B-8462A329C789}" srcOrd="0" destOrd="3" presId="urn:microsoft.com/office/officeart/2005/8/layout/vList5"/>
    <dgm:cxn modelId="{47870AD6-2B37-4301-9A8A-03B62BEF4C7E}" type="presOf" srcId="{72AB5958-98AE-40E1-A2BC-F86615DC227C}" destId="{0AB4B53A-5223-4FFC-82C3-2EACFB83BDEF}" srcOrd="0" destOrd="0" presId="urn:microsoft.com/office/officeart/2005/8/layout/vList5"/>
    <dgm:cxn modelId="{C6920A2C-2F05-43FF-B0E2-36AC5838AC69}" type="presParOf" srcId="{0AB4B53A-5223-4FFC-82C3-2EACFB83BDEF}" destId="{EAACA03B-D71F-4A46-810F-D19F82A2238D}" srcOrd="0" destOrd="0" presId="urn:microsoft.com/office/officeart/2005/8/layout/vList5"/>
    <dgm:cxn modelId="{A24CA5CF-AC97-4C5C-8743-D47C88C01CC3}" type="presParOf" srcId="{EAACA03B-D71F-4A46-810F-D19F82A2238D}" destId="{086FF4FD-422F-4991-98D0-CD9E311A2A35}" srcOrd="0" destOrd="0" presId="urn:microsoft.com/office/officeart/2005/8/layout/vList5"/>
    <dgm:cxn modelId="{F65F9E36-A0C8-4A0B-8DE1-CF9E81585190}" type="presParOf" srcId="{EAACA03B-D71F-4A46-810F-D19F82A2238D}" destId="{88358F0B-3705-4BDE-875B-8462A329C789}"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F96150-C5E8-449B-87BB-273201584C4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53FF87D-4B28-4961-95AB-E35B9D6448F6}">
      <dgm:prSet custT="1"/>
      <dgm:spPr/>
      <dgm:t>
        <a:bodyPr/>
        <a:lstStyle/>
        <a:p>
          <a:r>
            <a:rPr lang="en-US" sz="2400" baseline="0" dirty="0"/>
            <a:t>Heavy </a:t>
          </a:r>
          <a:r>
            <a:rPr lang="en-US" sz="2400" i="1" baseline="0" dirty="0"/>
            <a:t>ad hoc </a:t>
          </a:r>
          <a:r>
            <a:rPr lang="en-US" sz="2400" baseline="0" dirty="0"/>
            <a:t>workloads can bloat the plan cache</a:t>
          </a:r>
          <a:endParaRPr lang="en-US" sz="2400" dirty="0"/>
        </a:p>
      </dgm:t>
    </dgm:pt>
    <dgm:pt modelId="{8E0586E1-7A55-4B6C-9A06-4B8EC3032CEF}" type="parTrans" cxnId="{4E695FD1-FED4-447D-AE3D-6E8259960A21}">
      <dgm:prSet/>
      <dgm:spPr/>
      <dgm:t>
        <a:bodyPr/>
        <a:lstStyle/>
        <a:p>
          <a:endParaRPr lang="en-US"/>
        </a:p>
      </dgm:t>
    </dgm:pt>
    <dgm:pt modelId="{D292DD20-D544-467E-AD79-C7DC7C3B9A0A}" type="sibTrans" cxnId="{4E695FD1-FED4-447D-AE3D-6E8259960A21}">
      <dgm:prSet/>
      <dgm:spPr/>
      <dgm:t>
        <a:bodyPr/>
        <a:lstStyle/>
        <a:p>
          <a:endParaRPr lang="en-US"/>
        </a:p>
      </dgm:t>
    </dgm:pt>
    <dgm:pt modelId="{A539C337-15A1-4340-83D8-8E61ADBA7528}">
      <dgm:prSet custT="1"/>
      <dgm:spPr/>
      <dgm:t>
        <a:bodyPr/>
        <a:lstStyle/>
        <a:p>
          <a:r>
            <a:rPr lang="en-US" sz="2400" baseline="0" dirty="0"/>
            <a:t>Enable “optimize for ad hoc workload” to keep single-use plans out of the cache</a:t>
          </a:r>
          <a:endParaRPr lang="en-US" sz="2400" dirty="0"/>
        </a:p>
      </dgm:t>
    </dgm:pt>
    <dgm:pt modelId="{BC0BCFD4-538C-4B94-8F06-0485DDCC46E0}" type="parTrans" cxnId="{33E4BE41-5CA7-4B7D-9FBF-63B0D4C25CE6}">
      <dgm:prSet/>
      <dgm:spPr/>
      <dgm:t>
        <a:bodyPr/>
        <a:lstStyle/>
        <a:p>
          <a:endParaRPr lang="en-US"/>
        </a:p>
      </dgm:t>
    </dgm:pt>
    <dgm:pt modelId="{95179D76-120E-4272-9206-772EE5F6E749}" type="sibTrans" cxnId="{33E4BE41-5CA7-4B7D-9FBF-63B0D4C25CE6}">
      <dgm:prSet/>
      <dgm:spPr/>
      <dgm:t>
        <a:bodyPr/>
        <a:lstStyle/>
        <a:p>
          <a:endParaRPr lang="en-US"/>
        </a:p>
      </dgm:t>
    </dgm:pt>
    <dgm:pt modelId="{348BA692-EDCF-43EC-96A1-1836852B0C68}">
      <dgm:prSet custT="1"/>
      <dgm:spPr/>
      <dgm:t>
        <a:bodyPr/>
        <a:lstStyle/>
        <a:p>
          <a:r>
            <a:rPr lang="en-US" sz="2400" baseline="0" dirty="0"/>
            <a:t>No benefit to caching single-use, ad hoc plans</a:t>
          </a:r>
          <a:endParaRPr lang="en-US" sz="2400" dirty="0"/>
        </a:p>
      </dgm:t>
    </dgm:pt>
    <dgm:pt modelId="{FBA53D4C-2DE7-414E-8E66-DCC54D9384B7}" type="parTrans" cxnId="{332E90F8-C638-420A-8C23-7DCA15EF0DE1}">
      <dgm:prSet/>
      <dgm:spPr/>
      <dgm:t>
        <a:bodyPr/>
        <a:lstStyle/>
        <a:p>
          <a:endParaRPr lang="en-US"/>
        </a:p>
      </dgm:t>
    </dgm:pt>
    <dgm:pt modelId="{EA16906E-33DF-4CFB-BF6A-4F3D7D8E64B0}" type="sibTrans" cxnId="{332E90F8-C638-420A-8C23-7DCA15EF0DE1}">
      <dgm:prSet/>
      <dgm:spPr/>
      <dgm:t>
        <a:bodyPr/>
        <a:lstStyle/>
        <a:p>
          <a:endParaRPr lang="en-US"/>
        </a:p>
      </dgm:t>
    </dgm:pt>
    <dgm:pt modelId="{87FC66B4-C95D-414F-8447-8FC5D40294BB}" type="pres">
      <dgm:prSet presAssocID="{7FF96150-C5E8-449B-87BB-273201584C47}" presName="diagram" presStyleCnt="0">
        <dgm:presLayoutVars>
          <dgm:dir/>
          <dgm:resizeHandles val="exact"/>
        </dgm:presLayoutVars>
      </dgm:prSet>
      <dgm:spPr/>
    </dgm:pt>
    <dgm:pt modelId="{442B8F45-C21C-453B-84D9-C5CD6AD7B4FC}" type="pres">
      <dgm:prSet presAssocID="{353FF87D-4B28-4961-95AB-E35B9D6448F6}" presName="node" presStyleLbl="node1" presStyleIdx="0" presStyleCnt="3">
        <dgm:presLayoutVars>
          <dgm:bulletEnabled val="1"/>
        </dgm:presLayoutVars>
      </dgm:prSet>
      <dgm:spPr/>
    </dgm:pt>
    <dgm:pt modelId="{E255B85D-85C2-45D6-A1E8-CBBECB875897}" type="pres">
      <dgm:prSet presAssocID="{D292DD20-D544-467E-AD79-C7DC7C3B9A0A}" presName="sibTrans" presStyleCnt="0"/>
      <dgm:spPr/>
    </dgm:pt>
    <dgm:pt modelId="{7A872729-72F1-46CB-B009-3FB6861B61FC}" type="pres">
      <dgm:prSet presAssocID="{348BA692-EDCF-43EC-96A1-1836852B0C68}" presName="node" presStyleLbl="node1" presStyleIdx="1" presStyleCnt="3">
        <dgm:presLayoutVars>
          <dgm:bulletEnabled val="1"/>
        </dgm:presLayoutVars>
      </dgm:prSet>
      <dgm:spPr/>
    </dgm:pt>
    <dgm:pt modelId="{4722F49A-1221-4399-9B00-A1D59AA5DFFF}" type="pres">
      <dgm:prSet presAssocID="{EA16906E-33DF-4CFB-BF6A-4F3D7D8E64B0}" presName="sibTrans" presStyleCnt="0"/>
      <dgm:spPr/>
    </dgm:pt>
    <dgm:pt modelId="{41967A24-5AD9-4D95-94BC-C765092BFE0F}" type="pres">
      <dgm:prSet presAssocID="{A539C337-15A1-4340-83D8-8E61ADBA7528}" presName="node" presStyleLbl="node1" presStyleIdx="2" presStyleCnt="3">
        <dgm:presLayoutVars>
          <dgm:bulletEnabled val="1"/>
        </dgm:presLayoutVars>
      </dgm:prSet>
      <dgm:spPr/>
    </dgm:pt>
  </dgm:ptLst>
  <dgm:cxnLst>
    <dgm:cxn modelId="{33E4BE41-5CA7-4B7D-9FBF-63B0D4C25CE6}" srcId="{7FF96150-C5E8-449B-87BB-273201584C47}" destId="{A539C337-15A1-4340-83D8-8E61ADBA7528}" srcOrd="2" destOrd="0" parTransId="{BC0BCFD4-538C-4B94-8F06-0485DDCC46E0}" sibTransId="{95179D76-120E-4272-9206-772EE5F6E749}"/>
    <dgm:cxn modelId="{B864CF4A-EC56-4CDD-953A-2A4C2B51CDEA}" type="presOf" srcId="{7FF96150-C5E8-449B-87BB-273201584C47}" destId="{87FC66B4-C95D-414F-8447-8FC5D40294BB}" srcOrd="0" destOrd="0" presId="urn:microsoft.com/office/officeart/2005/8/layout/default"/>
    <dgm:cxn modelId="{194CBBB1-2373-4724-A038-852D9723F107}" type="presOf" srcId="{A539C337-15A1-4340-83D8-8E61ADBA7528}" destId="{41967A24-5AD9-4D95-94BC-C765092BFE0F}" srcOrd="0" destOrd="0" presId="urn:microsoft.com/office/officeart/2005/8/layout/default"/>
    <dgm:cxn modelId="{97043DB8-D48C-4FA1-9B2A-9E75486AE382}" type="presOf" srcId="{353FF87D-4B28-4961-95AB-E35B9D6448F6}" destId="{442B8F45-C21C-453B-84D9-C5CD6AD7B4FC}" srcOrd="0" destOrd="0" presId="urn:microsoft.com/office/officeart/2005/8/layout/default"/>
    <dgm:cxn modelId="{F8A259BE-6715-46EC-AF78-298C5879B1E5}" type="presOf" srcId="{348BA692-EDCF-43EC-96A1-1836852B0C68}" destId="{7A872729-72F1-46CB-B009-3FB6861B61FC}" srcOrd="0" destOrd="0" presId="urn:microsoft.com/office/officeart/2005/8/layout/default"/>
    <dgm:cxn modelId="{4E695FD1-FED4-447D-AE3D-6E8259960A21}" srcId="{7FF96150-C5E8-449B-87BB-273201584C47}" destId="{353FF87D-4B28-4961-95AB-E35B9D6448F6}" srcOrd="0" destOrd="0" parTransId="{8E0586E1-7A55-4B6C-9A06-4B8EC3032CEF}" sibTransId="{D292DD20-D544-467E-AD79-C7DC7C3B9A0A}"/>
    <dgm:cxn modelId="{332E90F8-C638-420A-8C23-7DCA15EF0DE1}" srcId="{7FF96150-C5E8-449B-87BB-273201584C47}" destId="{348BA692-EDCF-43EC-96A1-1836852B0C68}" srcOrd="1" destOrd="0" parTransId="{FBA53D4C-2DE7-414E-8E66-DCC54D9384B7}" sibTransId="{EA16906E-33DF-4CFB-BF6A-4F3D7D8E64B0}"/>
    <dgm:cxn modelId="{DDA3FFF9-59BC-4706-AD7D-6AF912DBE426}" type="presParOf" srcId="{87FC66B4-C95D-414F-8447-8FC5D40294BB}" destId="{442B8F45-C21C-453B-84D9-C5CD6AD7B4FC}" srcOrd="0" destOrd="0" presId="urn:microsoft.com/office/officeart/2005/8/layout/default"/>
    <dgm:cxn modelId="{5D5518DB-C77F-437E-B786-18EF5FFAF484}" type="presParOf" srcId="{87FC66B4-C95D-414F-8447-8FC5D40294BB}" destId="{E255B85D-85C2-45D6-A1E8-CBBECB875897}" srcOrd="1" destOrd="0" presId="urn:microsoft.com/office/officeart/2005/8/layout/default"/>
    <dgm:cxn modelId="{893E7894-99D9-4FD6-9B89-C1759E490668}" type="presParOf" srcId="{87FC66B4-C95D-414F-8447-8FC5D40294BB}" destId="{7A872729-72F1-46CB-B009-3FB6861B61FC}" srcOrd="2" destOrd="0" presId="urn:microsoft.com/office/officeart/2005/8/layout/default"/>
    <dgm:cxn modelId="{89D359E4-CCA2-48CA-A0F0-53B9397E8BC4}" type="presParOf" srcId="{87FC66B4-C95D-414F-8447-8FC5D40294BB}" destId="{4722F49A-1221-4399-9B00-A1D59AA5DFFF}" srcOrd="3" destOrd="0" presId="urn:microsoft.com/office/officeart/2005/8/layout/default"/>
    <dgm:cxn modelId="{93602D75-AC2D-4A3D-B862-E8A55A33F057}" type="presParOf" srcId="{87FC66B4-C95D-414F-8447-8FC5D40294BB}" destId="{41967A24-5AD9-4D95-94BC-C765092BFE0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966D9200-13DA-4E05-B9EF-C82788702EFF}">
      <dgm:prSet custT="1"/>
      <dgm:spPr/>
      <dgm:t>
        <a:bodyPr/>
        <a:lstStyle/>
        <a:p>
          <a:r>
            <a:rPr lang="en-US" sz="2400" baseline="0" dirty="0"/>
            <a:t>The entire plan cache – all databases</a:t>
          </a:r>
          <a:endParaRPr lang="en-US" sz="2400"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t>DBCC FREEPROC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custT="1"/>
      <dgm:spPr/>
      <dgm:t>
        <a:bodyPr/>
        <a:lstStyle/>
        <a:p>
          <a:r>
            <a:rPr lang="en-US" sz="2400" baseline="0" dirty="0"/>
            <a:t>All plans of a specific type</a:t>
          </a:r>
          <a:endParaRPr lang="en-US" sz="2400"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custT="1"/>
      <dgm:spPr/>
      <dgm:t>
        <a:bodyPr/>
        <a:lstStyle/>
        <a:p>
          <a:r>
            <a:rPr lang="en-US" sz="2400" baseline="0" dirty="0"/>
            <a:t>All plans for a single database</a:t>
          </a:r>
          <a:endParaRPr lang="en-US" sz="2400"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t>ALTER DATABASE SCOPED CONFIGURATION CLEAR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custT="1"/>
      <dgm:spPr/>
      <dgm:t>
        <a:bodyPr/>
        <a:lstStyle/>
        <a:p>
          <a:r>
            <a:rPr lang="en-US" sz="2400" baseline="0" dirty="0"/>
            <a:t>A specific plan</a:t>
          </a:r>
          <a:endParaRPr lang="en-US" sz="2400"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t>ALTER DATABASE SCOPED CONFIGURATION CLEAR PROCEDURE_CACHE(&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custLinFactNeighborY="0">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966D9200-13DA-4E05-B9EF-C82788702EFF}">
      <dgm:prSet/>
      <dgm:spPr/>
      <dgm:t>
        <a:bodyPr/>
        <a:lstStyle/>
        <a:p>
          <a:r>
            <a:rPr lang="en-US" baseline="0" dirty="0"/>
            <a:t>The entire plan cache – all databases</a:t>
          </a:r>
          <a:endParaRPr lang="en-US"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solidFill>
                <a:srgbClr val="0078D4"/>
              </a:solidFill>
            </a:rPr>
            <a:t>ALTER DATABASE </a:t>
          </a:r>
          <a:r>
            <a:rPr lang="en-US" baseline="0" dirty="0"/>
            <a:t>SCOPED CONFIGURATION </a:t>
          </a:r>
          <a:r>
            <a:rPr lang="en-US" baseline="0" dirty="0">
              <a:solidFill>
                <a:srgbClr val="0078D4"/>
              </a:solidFill>
            </a:rPr>
            <a:t>CLEAR</a:t>
          </a:r>
          <a:r>
            <a:rPr lang="en-US" baseline="0" dirty="0"/>
            <a:t> PROCEDURE_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dgm:spPr/>
      <dgm:t>
        <a:bodyPr/>
        <a:lstStyle/>
        <a:p>
          <a:r>
            <a:rPr lang="en-US" baseline="0" dirty="0"/>
            <a:t>All plans of a specific type</a:t>
          </a:r>
          <a:endParaRPr lang="en-US"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dgm:spPr/>
      <dgm:t>
        <a:bodyPr/>
        <a:lstStyle/>
        <a:p>
          <a:r>
            <a:rPr lang="en-US" baseline="0" dirty="0"/>
            <a:t>All plans for a single database</a:t>
          </a:r>
          <a:endParaRPr lang="en-US"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dgm:spPr/>
      <dgm:t>
        <a:bodyPr/>
        <a:lstStyle/>
        <a:p>
          <a:r>
            <a:rPr lang="en-US" baseline="0" dirty="0"/>
            <a:t>A specific plan</a:t>
          </a:r>
          <a:endParaRPr lang="en-US"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 &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CD35BF-F9D8-4E98-A0BD-61458FBC85B1}"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E464D81B-C285-4CD3-BD40-18600D601C23}">
      <dgm:prSet/>
      <dgm:spPr/>
      <dgm:t>
        <a:bodyPr/>
        <a:lstStyle/>
        <a:p>
          <a:pPr algn="ctr"/>
          <a:r>
            <a:rPr lang="en-US" baseline="0" dirty="0"/>
            <a:t>Requires that SQL statements match exactly</a:t>
          </a:r>
          <a:endParaRPr lang="en-US" dirty="0"/>
        </a:p>
      </dgm:t>
    </dgm:pt>
    <dgm:pt modelId="{9D70155A-7735-41CD-8BF8-AE57B6884612}" type="parTrans" cxnId="{75286957-D1E4-4FB9-BDE6-E1E97D08D5B3}">
      <dgm:prSet/>
      <dgm:spPr/>
      <dgm:t>
        <a:bodyPr/>
        <a:lstStyle/>
        <a:p>
          <a:endParaRPr lang="en-US"/>
        </a:p>
      </dgm:t>
    </dgm:pt>
    <dgm:pt modelId="{5CB6AD22-2F50-4011-8DE6-CAB139911129}" type="sibTrans" cxnId="{75286957-D1E4-4FB9-BDE6-E1E97D08D5B3}">
      <dgm:prSet/>
      <dgm:spPr/>
      <dgm:t>
        <a:bodyPr/>
        <a:lstStyle/>
        <a:p>
          <a:endParaRPr lang="en-US"/>
        </a:p>
      </dgm:t>
    </dgm:pt>
    <dgm:pt modelId="{74D5A0B7-91FD-43FF-BD1D-98BF2B5EA408}">
      <dgm:prSet/>
      <dgm:spPr/>
      <dgm:t>
        <a:bodyPr/>
        <a:lstStyle/>
        <a:p>
          <a:r>
            <a:rPr lang="en-US" u="sng" baseline="0" dirty="0"/>
            <a:t>Any</a:t>
          </a:r>
          <a:r>
            <a:rPr lang="en-US" baseline="0" dirty="0"/>
            <a:t> difference in casing, white space or literal values will affect a hashed value</a:t>
          </a:r>
          <a:endParaRPr lang="en-US" dirty="0"/>
        </a:p>
      </dgm:t>
    </dgm:pt>
    <dgm:pt modelId="{0A934204-652D-4555-97BA-7407613F4D2E}" type="parTrans" cxnId="{DB2C2E84-A62F-4479-9DA9-ED235A39E5C3}">
      <dgm:prSet/>
      <dgm:spPr/>
      <dgm:t>
        <a:bodyPr/>
        <a:lstStyle/>
        <a:p>
          <a:endParaRPr lang="en-US"/>
        </a:p>
      </dgm:t>
    </dgm:pt>
    <dgm:pt modelId="{711141CB-3BAD-470D-8330-801EEE241662}" type="sibTrans" cxnId="{DB2C2E84-A62F-4479-9DA9-ED235A39E5C3}">
      <dgm:prSet/>
      <dgm:spPr/>
      <dgm:t>
        <a:bodyPr/>
        <a:lstStyle/>
        <a:p>
          <a:endParaRPr lang="en-US"/>
        </a:p>
      </dgm:t>
    </dgm:pt>
    <dgm:pt modelId="{2CCBD4EB-E76D-4F4F-ABBB-E4489EDEF2BE}">
      <dgm:prSet/>
      <dgm:spPr/>
      <dgm:t>
        <a:bodyPr/>
        <a:lstStyle/>
        <a:p>
          <a:r>
            <a:rPr lang="en-US" baseline="0" dirty="0"/>
            <a:t>Less likely for </a:t>
          </a:r>
          <a:r>
            <a:rPr lang="en-US" i="1" baseline="0" dirty="0"/>
            <a:t>ad hoc </a:t>
          </a:r>
          <a:r>
            <a:rPr lang="en-US" baseline="0" dirty="0"/>
            <a:t>SQL statements</a:t>
          </a:r>
          <a:endParaRPr lang="en-US" dirty="0"/>
        </a:p>
      </dgm:t>
    </dgm:pt>
    <dgm:pt modelId="{B27A3923-093A-43F1-8911-00F4375B814E}" type="parTrans" cxnId="{5074666C-2790-4BEB-97B8-BBF05C393296}">
      <dgm:prSet/>
      <dgm:spPr/>
      <dgm:t>
        <a:bodyPr/>
        <a:lstStyle/>
        <a:p>
          <a:endParaRPr lang="en-US"/>
        </a:p>
      </dgm:t>
    </dgm:pt>
    <dgm:pt modelId="{03230513-2199-46BE-ABEB-26CD814EFA1B}" type="sibTrans" cxnId="{5074666C-2790-4BEB-97B8-BBF05C393296}">
      <dgm:prSet/>
      <dgm:spPr/>
      <dgm:t>
        <a:bodyPr/>
        <a:lstStyle/>
        <a:p>
          <a:endParaRPr lang="en-US"/>
        </a:p>
      </dgm:t>
    </dgm:pt>
    <dgm:pt modelId="{219AE4C6-5776-496C-B804-F1CCAC76320A}">
      <dgm:prSet/>
      <dgm:spPr/>
      <dgm:t>
        <a:bodyPr/>
        <a:lstStyle/>
        <a:p>
          <a:r>
            <a:rPr lang="en-US" baseline="0" dirty="0"/>
            <a:t>Simple (on by default) or Forced Parameterization can improve reuse</a:t>
          </a:r>
          <a:endParaRPr lang="en-US" dirty="0"/>
        </a:p>
      </dgm:t>
    </dgm:pt>
    <dgm:pt modelId="{D2171FFD-BF55-4538-A269-4874418890AF}" type="parTrans" cxnId="{94F8171F-DA48-4F73-9E64-693ECE06E8EF}">
      <dgm:prSet/>
      <dgm:spPr/>
      <dgm:t>
        <a:bodyPr/>
        <a:lstStyle/>
        <a:p>
          <a:endParaRPr lang="en-US"/>
        </a:p>
      </dgm:t>
    </dgm:pt>
    <dgm:pt modelId="{39E8E2C7-0876-401C-9242-993ED9AE26C7}" type="sibTrans" cxnId="{94F8171F-DA48-4F73-9E64-693ECE06E8EF}">
      <dgm:prSet/>
      <dgm:spPr/>
      <dgm:t>
        <a:bodyPr/>
        <a:lstStyle/>
        <a:p>
          <a:endParaRPr lang="en-US"/>
        </a:p>
      </dgm:t>
    </dgm:pt>
    <dgm:pt modelId="{F4AA763C-68F1-4722-BA14-36BD3F446C4B}">
      <dgm:prSet/>
      <dgm:spPr/>
      <dgm:t>
        <a:bodyPr/>
        <a:lstStyle/>
        <a:p>
          <a:r>
            <a:rPr lang="en-US" baseline="0" dirty="0"/>
            <a:t>Most easily achieved using:</a:t>
          </a:r>
          <a:endParaRPr lang="en-US" dirty="0"/>
        </a:p>
      </dgm:t>
    </dgm:pt>
    <dgm:pt modelId="{7B65FF97-5662-48F3-8493-FFC496799833}" type="parTrans" cxnId="{94438674-1B33-4BB3-85F9-9B3BCF231050}">
      <dgm:prSet/>
      <dgm:spPr/>
      <dgm:t>
        <a:bodyPr/>
        <a:lstStyle/>
        <a:p>
          <a:endParaRPr lang="en-US"/>
        </a:p>
      </dgm:t>
    </dgm:pt>
    <dgm:pt modelId="{47798103-3269-47CD-BE12-9C12CCD463D5}" type="sibTrans" cxnId="{94438674-1B33-4BB3-85F9-9B3BCF231050}">
      <dgm:prSet/>
      <dgm:spPr/>
      <dgm:t>
        <a:bodyPr/>
        <a:lstStyle/>
        <a:p>
          <a:endParaRPr lang="en-US"/>
        </a:p>
      </dgm:t>
    </dgm:pt>
    <dgm:pt modelId="{479E4B0C-8841-4FA2-9B6A-1015836F3DB3}">
      <dgm:prSet/>
      <dgm:spPr/>
      <dgm:t>
        <a:bodyPr/>
        <a:lstStyle/>
        <a:p>
          <a:r>
            <a:rPr lang="en-US" baseline="0" dirty="0"/>
            <a:t>Stored procedures, Functions, Triggers</a:t>
          </a:r>
          <a:endParaRPr lang="en-US" dirty="0"/>
        </a:p>
      </dgm:t>
    </dgm:pt>
    <dgm:pt modelId="{25DD104A-A682-4E87-861B-77905F0EC766}" type="parTrans" cxnId="{EE4ADCCF-BE51-4FB4-AB7B-07BB82461D2E}">
      <dgm:prSet/>
      <dgm:spPr/>
      <dgm:t>
        <a:bodyPr/>
        <a:lstStyle/>
        <a:p>
          <a:endParaRPr lang="en-US"/>
        </a:p>
      </dgm:t>
    </dgm:pt>
    <dgm:pt modelId="{1C6088AE-8751-4B95-BBE7-7D032F63D585}" type="sibTrans" cxnId="{EE4ADCCF-BE51-4FB4-AB7B-07BB82461D2E}">
      <dgm:prSet/>
      <dgm:spPr/>
      <dgm:t>
        <a:bodyPr/>
        <a:lstStyle/>
        <a:p>
          <a:endParaRPr lang="en-US"/>
        </a:p>
      </dgm:t>
    </dgm:pt>
    <dgm:pt modelId="{F697A509-115F-423C-B3FC-65D7F9DD732B}">
      <dgm:prSet/>
      <dgm:spPr/>
      <dgm:t>
        <a:bodyPr/>
        <a:lstStyle/>
        <a:p>
          <a:r>
            <a:rPr lang="en-US" baseline="0" dirty="0"/>
            <a:t>Prepared statements and parameterized queries (sp_executesql)</a:t>
          </a:r>
          <a:endParaRPr lang="en-US" dirty="0"/>
        </a:p>
      </dgm:t>
    </dgm:pt>
    <dgm:pt modelId="{427B56EE-6175-4D06-A289-690A414C163A}" type="parTrans" cxnId="{5B29CB74-26F6-4066-ACA5-ED62C61217A8}">
      <dgm:prSet/>
      <dgm:spPr/>
      <dgm:t>
        <a:bodyPr/>
        <a:lstStyle/>
        <a:p>
          <a:endParaRPr lang="en-US"/>
        </a:p>
      </dgm:t>
    </dgm:pt>
    <dgm:pt modelId="{6E2D495B-8840-4C15-B42F-EB9A089F62C8}" type="sibTrans" cxnId="{5B29CB74-26F6-4066-ACA5-ED62C61217A8}">
      <dgm:prSet/>
      <dgm:spPr/>
      <dgm:t>
        <a:bodyPr/>
        <a:lstStyle/>
        <a:p>
          <a:endParaRPr lang="en-US"/>
        </a:p>
      </dgm:t>
    </dgm:pt>
    <dgm:pt modelId="{1C21C51A-CD0B-4019-A3EE-02D1611CBF27}" type="pres">
      <dgm:prSet presAssocID="{6BCD35BF-F9D8-4E98-A0BD-61458FBC85B1}" presName="Name0" presStyleCnt="0">
        <dgm:presLayoutVars>
          <dgm:dir/>
          <dgm:animLvl val="lvl"/>
          <dgm:resizeHandles val="exact"/>
        </dgm:presLayoutVars>
      </dgm:prSet>
      <dgm:spPr/>
    </dgm:pt>
    <dgm:pt modelId="{92526606-A55C-4330-8D2D-540FBC25CF6A}" type="pres">
      <dgm:prSet presAssocID="{E464D81B-C285-4CD3-BD40-18600D601C23}" presName="linNode" presStyleCnt="0"/>
      <dgm:spPr/>
    </dgm:pt>
    <dgm:pt modelId="{921C66B1-F72E-469E-A1A5-766BFD69EE6E}" type="pres">
      <dgm:prSet presAssocID="{E464D81B-C285-4CD3-BD40-18600D601C23}" presName="parentText" presStyleLbl="node1" presStyleIdx="0" presStyleCnt="3">
        <dgm:presLayoutVars>
          <dgm:chMax val="1"/>
          <dgm:bulletEnabled val="1"/>
        </dgm:presLayoutVars>
      </dgm:prSet>
      <dgm:spPr/>
    </dgm:pt>
    <dgm:pt modelId="{63344A51-086C-4132-8DCA-8D11584234C5}" type="pres">
      <dgm:prSet presAssocID="{E464D81B-C285-4CD3-BD40-18600D601C23}" presName="descendantText" presStyleLbl="alignAccFollowNode1" presStyleIdx="0" presStyleCnt="3">
        <dgm:presLayoutVars>
          <dgm:bulletEnabled val="1"/>
        </dgm:presLayoutVars>
      </dgm:prSet>
      <dgm:spPr/>
    </dgm:pt>
    <dgm:pt modelId="{38D6E590-CB5A-4B12-8FC1-FDA3FEB8AFDC}" type="pres">
      <dgm:prSet presAssocID="{5CB6AD22-2F50-4011-8DE6-CAB139911129}" presName="sp" presStyleCnt="0"/>
      <dgm:spPr/>
    </dgm:pt>
    <dgm:pt modelId="{2419A0CB-4379-49C3-AAEA-AF5355613E0C}" type="pres">
      <dgm:prSet presAssocID="{2CCBD4EB-E76D-4F4F-ABBB-E4489EDEF2BE}" presName="linNode" presStyleCnt="0"/>
      <dgm:spPr/>
    </dgm:pt>
    <dgm:pt modelId="{39CC2B3E-3196-4D9F-86CF-8A88B8AB8052}" type="pres">
      <dgm:prSet presAssocID="{2CCBD4EB-E76D-4F4F-ABBB-E4489EDEF2BE}" presName="parentText" presStyleLbl="node1" presStyleIdx="1" presStyleCnt="3">
        <dgm:presLayoutVars>
          <dgm:chMax val="1"/>
          <dgm:bulletEnabled val="1"/>
        </dgm:presLayoutVars>
      </dgm:prSet>
      <dgm:spPr/>
    </dgm:pt>
    <dgm:pt modelId="{FDA009E2-0319-432B-9F31-DFFAAEDD8B20}" type="pres">
      <dgm:prSet presAssocID="{2CCBD4EB-E76D-4F4F-ABBB-E4489EDEF2BE}" presName="descendantText" presStyleLbl="alignAccFollowNode1" presStyleIdx="1" presStyleCnt="3">
        <dgm:presLayoutVars>
          <dgm:bulletEnabled val="1"/>
        </dgm:presLayoutVars>
      </dgm:prSet>
      <dgm:spPr/>
    </dgm:pt>
    <dgm:pt modelId="{BE64C098-D87A-4DAC-AB9E-983D2DBF06A7}" type="pres">
      <dgm:prSet presAssocID="{03230513-2199-46BE-ABEB-26CD814EFA1B}" presName="sp" presStyleCnt="0"/>
      <dgm:spPr/>
    </dgm:pt>
    <dgm:pt modelId="{13743FC8-A7E6-41E6-9355-444507C4FCD3}" type="pres">
      <dgm:prSet presAssocID="{F4AA763C-68F1-4722-BA14-36BD3F446C4B}" presName="linNode" presStyleCnt="0"/>
      <dgm:spPr/>
    </dgm:pt>
    <dgm:pt modelId="{CC07D088-4892-4E5C-8123-1ABF1BF7BA81}" type="pres">
      <dgm:prSet presAssocID="{F4AA763C-68F1-4722-BA14-36BD3F446C4B}" presName="parentText" presStyleLbl="node1" presStyleIdx="2" presStyleCnt="3">
        <dgm:presLayoutVars>
          <dgm:chMax val="1"/>
          <dgm:bulletEnabled val="1"/>
        </dgm:presLayoutVars>
      </dgm:prSet>
      <dgm:spPr/>
    </dgm:pt>
    <dgm:pt modelId="{DBDF4D6F-4375-4583-A571-22E5E09D9615}" type="pres">
      <dgm:prSet presAssocID="{F4AA763C-68F1-4722-BA14-36BD3F446C4B}" presName="descendantText" presStyleLbl="alignAccFollowNode1" presStyleIdx="2" presStyleCnt="3">
        <dgm:presLayoutVars>
          <dgm:bulletEnabled val="1"/>
        </dgm:presLayoutVars>
      </dgm:prSet>
      <dgm:spPr/>
    </dgm:pt>
  </dgm:ptLst>
  <dgm:cxnLst>
    <dgm:cxn modelId="{94F8171F-DA48-4F73-9E64-693ECE06E8EF}" srcId="{2CCBD4EB-E76D-4F4F-ABBB-E4489EDEF2BE}" destId="{219AE4C6-5776-496C-B804-F1CCAC76320A}" srcOrd="0" destOrd="0" parTransId="{D2171FFD-BF55-4538-A269-4874418890AF}" sibTransId="{39E8E2C7-0876-401C-9242-993ED9AE26C7}"/>
    <dgm:cxn modelId="{FD3D1824-07B2-4252-8E49-DBB5F21196B8}" type="presOf" srcId="{219AE4C6-5776-496C-B804-F1CCAC76320A}" destId="{FDA009E2-0319-432B-9F31-DFFAAEDD8B20}" srcOrd="0" destOrd="0" presId="urn:microsoft.com/office/officeart/2005/8/layout/vList5"/>
    <dgm:cxn modelId="{10AFAC26-4D58-4CE8-914B-BA3CF09253E5}" type="presOf" srcId="{F697A509-115F-423C-B3FC-65D7F9DD732B}" destId="{DBDF4D6F-4375-4583-A571-22E5E09D9615}" srcOrd="0" destOrd="1" presId="urn:microsoft.com/office/officeart/2005/8/layout/vList5"/>
    <dgm:cxn modelId="{5074666C-2790-4BEB-97B8-BBF05C393296}" srcId="{6BCD35BF-F9D8-4E98-A0BD-61458FBC85B1}" destId="{2CCBD4EB-E76D-4F4F-ABBB-E4489EDEF2BE}" srcOrd="1" destOrd="0" parTransId="{B27A3923-093A-43F1-8911-00F4375B814E}" sibTransId="{03230513-2199-46BE-ABEB-26CD814EFA1B}"/>
    <dgm:cxn modelId="{94438674-1B33-4BB3-85F9-9B3BCF231050}" srcId="{6BCD35BF-F9D8-4E98-A0BD-61458FBC85B1}" destId="{F4AA763C-68F1-4722-BA14-36BD3F446C4B}" srcOrd="2" destOrd="0" parTransId="{7B65FF97-5662-48F3-8493-FFC496799833}" sibTransId="{47798103-3269-47CD-BE12-9C12CCD463D5}"/>
    <dgm:cxn modelId="{5B29CB74-26F6-4066-ACA5-ED62C61217A8}" srcId="{F4AA763C-68F1-4722-BA14-36BD3F446C4B}" destId="{F697A509-115F-423C-B3FC-65D7F9DD732B}" srcOrd="1" destOrd="0" parTransId="{427B56EE-6175-4D06-A289-690A414C163A}" sibTransId="{6E2D495B-8840-4C15-B42F-EB9A089F62C8}"/>
    <dgm:cxn modelId="{75286957-D1E4-4FB9-BDE6-E1E97D08D5B3}" srcId="{6BCD35BF-F9D8-4E98-A0BD-61458FBC85B1}" destId="{E464D81B-C285-4CD3-BD40-18600D601C23}" srcOrd="0" destOrd="0" parTransId="{9D70155A-7735-41CD-8BF8-AE57B6884612}" sibTransId="{5CB6AD22-2F50-4011-8DE6-CAB139911129}"/>
    <dgm:cxn modelId="{DB2C2E84-A62F-4479-9DA9-ED235A39E5C3}" srcId="{E464D81B-C285-4CD3-BD40-18600D601C23}" destId="{74D5A0B7-91FD-43FF-BD1D-98BF2B5EA408}" srcOrd="0" destOrd="0" parTransId="{0A934204-652D-4555-97BA-7407613F4D2E}" sibTransId="{711141CB-3BAD-470D-8330-801EEE241662}"/>
    <dgm:cxn modelId="{A724DC98-01A1-40FE-BEC0-41EE02CC3C1B}" type="presOf" srcId="{2CCBD4EB-E76D-4F4F-ABBB-E4489EDEF2BE}" destId="{39CC2B3E-3196-4D9F-86CF-8A88B8AB8052}" srcOrd="0" destOrd="0" presId="urn:microsoft.com/office/officeart/2005/8/layout/vList5"/>
    <dgm:cxn modelId="{0D1FBFB8-6DC0-4D7B-8C16-A1A6956FEFD2}" type="presOf" srcId="{E464D81B-C285-4CD3-BD40-18600D601C23}" destId="{921C66B1-F72E-469E-A1A5-766BFD69EE6E}" srcOrd="0" destOrd="0" presId="urn:microsoft.com/office/officeart/2005/8/layout/vList5"/>
    <dgm:cxn modelId="{C00E21C2-4A00-4941-BE86-A5E099E90C4C}" type="presOf" srcId="{6BCD35BF-F9D8-4E98-A0BD-61458FBC85B1}" destId="{1C21C51A-CD0B-4019-A3EE-02D1611CBF27}" srcOrd="0" destOrd="0" presId="urn:microsoft.com/office/officeart/2005/8/layout/vList5"/>
    <dgm:cxn modelId="{EE4ADCCF-BE51-4FB4-AB7B-07BB82461D2E}" srcId="{F4AA763C-68F1-4722-BA14-36BD3F446C4B}" destId="{479E4B0C-8841-4FA2-9B6A-1015836F3DB3}" srcOrd="0" destOrd="0" parTransId="{25DD104A-A682-4E87-861B-77905F0EC766}" sibTransId="{1C6088AE-8751-4B95-BBE7-7D032F63D585}"/>
    <dgm:cxn modelId="{EBB91FD2-131B-4EE8-BC2C-D1C45AEB8B4B}" type="presOf" srcId="{479E4B0C-8841-4FA2-9B6A-1015836F3DB3}" destId="{DBDF4D6F-4375-4583-A571-22E5E09D9615}" srcOrd="0" destOrd="0" presId="urn:microsoft.com/office/officeart/2005/8/layout/vList5"/>
    <dgm:cxn modelId="{6C65B8D7-6CEB-403A-A0CC-67347B8334C4}" type="presOf" srcId="{F4AA763C-68F1-4722-BA14-36BD3F446C4B}" destId="{CC07D088-4892-4E5C-8123-1ABF1BF7BA81}" srcOrd="0" destOrd="0" presId="urn:microsoft.com/office/officeart/2005/8/layout/vList5"/>
    <dgm:cxn modelId="{F264EFF1-B455-4875-8B53-BA313C30C545}" type="presOf" srcId="{74D5A0B7-91FD-43FF-BD1D-98BF2B5EA408}" destId="{63344A51-086C-4132-8DCA-8D11584234C5}" srcOrd="0" destOrd="0" presId="urn:microsoft.com/office/officeart/2005/8/layout/vList5"/>
    <dgm:cxn modelId="{065DE7F4-A40C-4D7A-8E1F-531BE43E15DA}" type="presParOf" srcId="{1C21C51A-CD0B-4019-A3EE-02D1611CBF27}" destId="{92526606-A55C-4330-8D2D-540FBC25CF6A}" srcOrd="0" destOrd="0" presId="urn:microsoft.com/office/officeart/2005/8/layout/vList5"/>
    <dgm:cxn modelId="{AF7631B4-0DA2-412C-809A-21E05CF3120B}" type="presParOf" srcId="{92526606-A55C-4330-8D2D-540FBC25CF6A}" destId="{921C66B1-F72E-469E-A1A5-766BFD69EE6E}" srcOrd="0" destOrd="0" presId="urn:microsoft.com/office/officeart/2005/8/layout/vList5"/>
    <dgm:cxn modelId="{6F8B3AF8-AE08-4690-BF5D-560230F74E1E}" type="presParOf" srcId="{92526606-A55C-4330-8D2D-540FBC25CF6A}" destId="{63344A51-086C-4132-8DCA-8D11584234C5}" srcOrd="1" destOrd="0" presId="urn:microsoft.com/office/officeart/2005/8/layout/vList5"/>
    <dgm:cxn modelId="{DB47DFDC-D638-4DCA-8AF9-2F2BD9434F71}" type="presParOf" srcId="{1C21C51A-CD0B-4019-A3EE-02D1611CBF27}" destId="{38D6E590-CB5A-4B12-8FC1-FDA3FEB8AFDC}" srcOrd="1" destOrd="0" presId="urn:microsoft.com/office/officeart/2005/8/layout/vList5"/>
    <dgm:cxn modelId="{0D6FF5AF-24CB-4CD5-BC39-6244114BB3D7}" type="presParOf" srcId="{1C21C51A-CD0B-4019-A3EE-02D1611CBF27}" destId="{2419A0CB-4379-49C3-AAEA-AF5355613E0C}" srcOrd="2" destOrd="0" presId="urn:microsoft.com/office/officeart/2005/8/layout/vList5"/>
    <dgm:cxn modelId="{578C6F90-7591-422C-909E-D23838BDB8DB}" type="presParOf" srcId="{2419A0CB-4379-49C3-AAEA-AF5355613E0C}" destId="{39CC2B3E-3196-4D9F-86CF-8A88B8AB8052}" srcOrd="0" destOrd="0" presId="urn:microsoft.com/office/officeart/2005/8/layout/vList5"/>
    <dgm:cxn modelId="{BDB2DE19-F3C3-424E-92CD-5D640ED16B4F}" type="presParOf" srcId="{2419A0CB-4379-49C3-AAEA-AF5355613E0C}" destId="{FDA009E2-0319-432B-9F31-DFFAAEDD8B20}" srcOrd="1" destOrd="0" presId="urn:microsoft.com/office/officeart/2005/8/layout/vList5"/>
    <dgm:cxn modelId="{1157DA3B-54EE-43F9-A55B-43AA91CD21CA}" type="presParOf" srcId="{1C21C51A-CD0B-4019-A3EE-02D1611CBF27}" destId="{BE64C098-D87A-4DAC-AB9E-983D2DBF06A7}" srcOrd="3" destOrd="0" presId="urn:microsoft.com/office/officeart/2005/8/layout/vList5"/>
    <dgm:cxn modelId="{47C97985-E187-48E4-BEEB-292F4143CA22}" type="presParOf" srcId="{1C21C51A-CD0B-4019-A3EE-02D1611CBF27}" destId="{13743FC8-A7E6-41E6-9355-444507C4FCD3}" srcOrd="4" destOrd="0" presId="urn:microsoft.com/office/officeart/2005/8/layout/vList5"/>
    <dgm:cxn modelId="{EEF590F0-DC5E-4066-953E-3C2580221619}" type="presParOf" srcId="{13743FC8-A7E6-41E6-9355-444507C4FCD3}" destId="{CC07D088-4892-4E5C-8123-1ABF1BF7BA81}" srcOrd="0" destOrd="0" presId="urn:microsoft.com/office/officeart/2005/8/layout/vList5"/>
    <dgm:cxn modelId="{04ED0477-AB5C-4326-9234-0A7EEC86A87D}" type="presParOf" srcId="{13743FC8-A7E6-41E6-9355-444507C4FCD3}" destId="{DBDF4D6F-4375-4583-A571-22E5E09D96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DD2BDE-B2EC-47CA-A973-8EEA2AAF8040}">
      <dsp:nvSpPr>
        <dsp:cNvPr id="0" name=""/>
        <dsp:cNvSpPr/>
      </dsp:nvSpPr>
      <dsp:spPr>
        <a:xfrm>
          <a:off x="0" y="44070"/>
          <a:ext cx="10880726" cy="6949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A pool of memory used to store query execution plans</a:t>
          </a:r>
          <a:endParaRPr lang="en-US" sz="2700" kern="1200" dirty="0"/>
        </a:p>
      </dsp:txBody>
      <dsp:txXfrm>
        <a:off x="33926" y="77996"/>
        <a:ext cx="10812874" cy="627128"/>
      </dsp:txXfrm>
    </dsp:sp>
    <dsp:sp modelId="{4ABB565F-2368-4EC2-BC8B-1EFFACA85D9B}">
      <dsp:nvSpPr>
        <dsp:cNvPr id="0" name=""/>
        <dsp:cNvSpPr/>
      </dsp:nvSpPr>
      <dsp:spPr>
        <a:xfrm>
          <a:off x="0" y="816810"/>
          <a:ext cx="10880726" cy="69498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Used by a</a:t>
          </a:r>
          <a:r>
            <a:rPr lang="en-US" sz="2700" kern="1200" baseline="0" dirty="0"/>
            <a:t>ll databases in a SQL Server instance</a:t>
          </a:r>
          <a:endParaRPr lang="en-US" sz="2700" kern="1200" dirty="0"/>
        </a:p>
      </dsp:txBody>
      <dsp:txXfrm>
        <a:off x="33926" y="850736"/>
        <a:ext cx="10812874" cy="627128"/>
      </dsp:txXfrm>
    </dsp:sp>
    <dsp:sp modelId="{5F9F3BA5-18FC-4D9C-9847-C2707B579669}">
      <dsp:nvSpPr>
        <dsp:cNvPr id="0" name=""/>
        <dsp:cNvSpPr/>
      </dsp:nvSpPr>
      <dsp:spPr>
        <a:xfrm>
          <a:off x="0" y="1589550"/>
          <a:ext cx="10880726" cy="6949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Exists to a</a:t>
          </a:r>
          <a:r>
            <a:rPr lang="en-US" sz="2700" kern="1200" baseline="0" dirty="0"/>
            <a:t>void repeated optimization and compilation</a:t>
          </a:r>
          <a:endParaRPr lang="en-US" sz="2700" kern="1200" dirty="0"/>
        </a:p>
      </dsp:txBody>
      <dsp:txXfrm>
        <a:off x="33926" y="1623476"/>
        <a:ext cx="10812874" cy="627128"/>
      </dsp:txXfrm>
    </dsp:sp>
    <dsp:sp modelId="{DD1AFBFE-2110-4945-A824-79A8A07F70E2}">
      <dsp:nvSpPr>
        <dsp:cNvPr id="0" name=""/>
        <dsp:cNvSpPr/>
      </dsp:nvSpPr>
      <dsp:spPr>
        <a:xfrm>
          <a:off x="0" y="2362290"/>
          <a:ext cx="10880726" cy="69498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Reuse of reduce optimization and compilation costs</a:t>
          </a:r>
          <a:endParaRPr lang="en-US" sz="2700" kern="1200" dirty="0"/>
        </a:p>
      </dsp:txBody>
      <dsp:txXfrm>
        <a:off x="33926" y="2396216"/>
        <a:ext cx="10812874" cy="627128"/>
      </dsp:txXfrm>
    </dsp:sp>
    <dsp:sp modelId="{78E01664-1A39-4D3E-A01C-C8D5235F5F8F}">
      <dsp:nvSpPr>
        <dsp:cNvPr id="0" name=""/>
        <dsp:cNvSpPr/>
      </dsp:nvSpPr>
      <dsp:spPr>
        <a:xfrm>
          <a:off x="0" y="3135030"/>
          <a:ext cx="10880726" cy="6949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Size and contents </a:t>
          </a:r>
          <a:r>
            <a:rPr lang="en-US" sz="2700" kern="1200" baseline="0" dirty="0"/>
            <a:t>vary over time.</a:t>
          </a:r>
          <a:endParaRPr lang="en-US" sz="2700" kern="1200" dirty="0"/>
        </a:p>
      </dsp:txBody>
      <dsp:txXfrm>
        <a:off x="33926" y="3168956"/>
        <a:ext cx="10812874" cy="6271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A2300-0902-41CF-8DE3-EF1333A19D2A}">
      <dsp:nvSpPr>
        <dsp:cNvPr id="0" name=""/>
        <dsp:cNvSpPr/>
      </dsp:nvSpPr>
      <dsp:spPr>
        <a:xfrm>
          <a:off x="53" y="541"/>
          <a:ext cx="5084401"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Benefit</a:t>
          </a:r>
        </a:p>
      </dsp:txBody>
      <dsp:txXfrm>
        <a:off x="53" y="541"/>
        <a:ext cx="5084401" cy="662400"/>
      </dsp:txXfrm>
    </dsp:sp>
    <dsp:sp modelId="{BAD13D12-81A5-4696-8F90-2CDFECF2217D}">
      <dsp:nvSpPr>
        <dsp:cNvPr id="0" name=""/>
        <dsp:cNvSpPr/>
      </dsp:nvSpPr>
      <dsp:spPr>
        <a:xfrm>
          <a:off x="53" y="662941"/>
          <a:ext cx="5084401" cy="1357402"/>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Improved performance as reuse saves time and CPU</a:t>
          </a:r>
          <a:endParaRPr lang="en-US" sz="2200" kern="1200" dirty="0"/>
        </a:p>
      </dsp:txBody>
      <dsp:txXfrm>
        <a:off x="53" y="662941"/>
        <a:ext cx="5084401" cy="1357402"/>
      </dsp:txXfrm>
    </dsp:sp>
    <dsp:sp modelId="{00C82F43-D0EC-4416-9542-381A0C09BD27}">
      <dsp:nvSpPr>
        <dsp:cNvPr id="0" name=""/>
        <dsp:cNvSpPr/>
      </dsp:nvSpPr>
      <dsp:spPr>
        <a:xfrm>
          <a:off x="5796271" y="541"/>
          <a:ext cx="5084401"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rawback</a:t>
          </a:r>
        </a:p>
      </dsp:txBody>
      <dsp:txXfrm>
        <a:off x="5796271" y="541"/>
        <a:ext cx="5084401" cy="662400"/>
      </dsp:txXfrm>
    </dsp:sp>
    <dsp:sp modelId="{2F8EF1CB-44EC-4B3D-B02F-AB0D218C0B47}">
      <dsp:nvSpPr>
        <dsp:cNvPr id="0" name=""/>
        <dsp:cNvSpPr/>
      </dsp:nvSpPr>
      <dsp:spPr>
        <a:xfrm>
          <a:off x="5796271" y="662941"/>
          <a:ext cx="5084401" cy="1357402"/>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Degraded performance when reused plan is not optimal for all parameter values</a:t>
          </a:r>
          <a:endParaRPr lang="en-US" sz="2300" kern="1200" dirty="0"/>
        </a:p>
      </dsp:txBody>
      <dsp:txXfrm>
        <a:off x="5796271" y="662941"/>
        <a:ext cx="5084401" cy="135740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E681C0-A19D-42B4-9C8C-3286F68DB5FB}">
      <dsp:nvSpPr>
        <dsp:cNvPr id="0" name=""/>
        <dsp:cNvSpPr/>
      </dsp:nvSpPr>
      <dsp:spPr>
        <a:xfrm>
          <a:off x="46053" y="0"/>
          <a:ext cx="10788619" cy="3268932"/>
        </a:xfrm>
        <a:prstGeom prst="leftRightRibb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5C8ED6-EAE6-4CF5-AD1F-6474517BD6D5}">
      <dsp:nvSpPr>
        <dsp:cNvPr id="0" name=""/>
        <dsp:cNvSpPr/>
      </dsp:nvSpPr>
      <dsp:spPr>
        <a:xfrm>
          <a:off x="1801450" y="572063"/>
          <a:ext cx="3147272"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Parameter Sniffing</a:t>
          </a:r>
          <a:endParaRPr lang="en-US" sz="1500" kern="1200" dirty="0"/>
        </a:p>
        <a:p>
          <a:pPr marL="114300" lvl="1" indent="-114300" algn="l" defTabSz="533400" rtl="0">
            <a:lnSpc>
              <a:spcPct val="90000"/>
            </a:lnSpc>
            <a:spcBef>
              <a:spcPct val="0"/>
            </a:spcBef>
            <a:spcAft>
              <a:spcPct val="15000"/>
            </a:spcAft>
            <a:buChar char="•"/>
          </a:pPr>
          <a:r>
            <a:rPr lang="en-US" sz="1200" kern="1200" baseline="0" dirty="0"/>
            <a:t>Optimizer’s ability to see (sniff) parameter values at compile time and so create a cost-effective execution plan</a:t>
          </a:r>
          <a:r>
            <a:rPr lang="en-US" sz="1200" kern="1200" baseline="0" dirty="0">
              <a:latin typeface="Segoe UI Semibold"/>
            </a:rPr>
            <a:t>.  </a:t>
          </a:r>
          <a:endParaRPr lang="en-US" sz="1200" b="1" kern="1200" dirty="0"/>
        </a:p>
        <a:p>
          <a:pPr marL="114300" lvl="1" indent="-114300" algn="l" defTabSz="533400">
            <a:lnSpc>
              <a:spcPct val="90000"/>
            </a:lnSpc>
            <a:spcBef>
              <a:spcPct val="0"/>
            </a:spcBef>
            <a:spcAft>
              <a:spcPct val="15000"/>
            </a:spcAft>
            <a:buChar char="•"/>
          </a:pPr>
          <a:r>
            <a:rPr lang="en-US" sz="1200" b="0" kern="1200" baseline="0" dirty="0"/>
            <a:t>This is generally beneficial.</a:t>
          </a:r>
          <a:endParaRPr lang="en-US" sz="1200" b="0" kern="1200" dirty="0"/>
        </a:p>
        <a:p>
          <a:pPr marL="114300" lvl="1" indent="-114300" algn="l" defTabSz="533400">
            <a:lnSpc>
              <a:spcPct val="90000"/>
            </a:lnSpc>
            <a:spcBef>
              <a:spcPct val="0"/>
            </a:spcBef>
            <a:spcAft>
              <a:spcPct val="15000"/>
            </a:spcAft>
            <a:buChar char="•"/>
          </a:pPr>
          <a:r>
            <a:rPr lang="en-US" sz="1200" b="0" u="sng" kern="1200" dirty="0"/>
            <a:t>Only</a:t>
          </a:r>
          <a:r>
            <a:rPr lang="en-US" sz="1200" b="0" kern="1200" dirty="0"/>
            <a:t> p</a:t>
          </a:r>
          <a:r>
            <a:rPr lang="en-US" sz="1200" kern="1200" dirty="0"/>
            <a:t>roblematic when compile parameters aren’t representative</a:t>
          </a:r>
        </a:p>
      </dsp:txBody>
      <dsp:txXfrm>
        <a:off x="1801450" y="572063"/>
        <a:ext cx="3147272" cy="1601776"/>
      </dsp:txXfrm>
    </dsp:sp>
    <dsp:sp modelId="{B1F73455-BB74-4E53-B758-E009DED876F4}">
      <dsp:nvSpPr>
        <dsp:cNvPr id="0" name=""/>
        <dsp:cNvSpPr/>
      </dsp:nvSpPr>
      <dsp:spPr>
        <a:xfrm>
          <a:off x="5810955" y="1059933"/>
          <a:ext cx="3802244"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Recompile hints</a:t>
          </a:r>
          <a:endParaRPr lang="en-US" sz="1500" kern="1200" dirty="0"/>
        </a:p>
        <a:p>
          <a:pPr marL="114300" lvl="1" indent="-114300" algn="l" defTabSz="533400">
            <a:lnSpc>
              <a:spcPct val="90000"/>
            </a:lnSpc>
            <a:spcBef>
              <a:spcPct val="0"/>
            </a:spcBef>
            <a:spcAft>
              <a:spcPct val="15000"/>
            </a:spcAft>
            <a:buChar char="•"/>
          </a:pPr>
          <a:r>
            <a:rPr lang="en-US" sz="1200" kern="1200" baseline="0" dirty="0"/>
            <a:t>Prevent caching of plans at the object or statement (preferred) level</a:t>
          </a:r>
          <a:endParaRPr lang="en-US" sz="1200" kern="1200" dirty="0"/>
        </a:p>
        <a:p>
          <a:pPr marL="114300" lvl="1" indent="-114300" algn="l" defTabSz="533400">
            <a:lnSpc>
              <a:spcPct val="90000"/>
            </a:lnSpc>
            <a:spcBef>
              <a:spcPct val="0"/>
            </a:spcBef>
            <a:spcAft>
              <a:spcPct val="15000"/>
            </a:spcAft>
            <a:buChar char="•"/>
          </a:pPr>
          <a:r>
            <a:rPr lang="en-US" sz="1200" kern="1200" baseline="0" dirty="0"/>
            <a:t>sp_recompile &lt;object_name&gt; to manually force recompilation</a:t>
          </a:r>
          <a:endParaRPr lang="en-US" sz="1200" kern="1200" dirty="0"/>
        </a:p>
      </dsp:txBody>
      <dsp:txXfrm>
        <a:off x="5810955" y="1059933"/>
        <a:ext cx="3802244" cy="160177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144"/>
          <a:ext cx="10880725" cy="71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the size of the plan cache fixed?</a:t>
          </a:r>
        </a:p>
      </dsp:txBody>
      <dsp:txXfrm>
        <a:off x="34726" y="36870"/>
        <a:ext cx="10811273" cy="641908"/>
      </dsp:txXfrm>
    </dsp:sp>
    <dsp:sp modelId="{4A71D5C7-A7D6-46CE-B888-CF65241F6B98}">
      <dsp:nvSpPr>
        <dsp:cNvPr id="0" name=""/>
        <dsp:cNvSpPr/>
      </dsp:nvSpPr>
      <dsp:spPr>
        <a:xfrm>
          <a:off x="0" y="822944"/>
          <a:ext cx="10880725" cy="711360"/>
        </a:xfrm>
        <a:prstGeom prst="roundRect">
          <a:avLst/>
        </a:prstGeom>
        <a:solidFill>
          <a:schemeClr val="accent4">
            <a:hueOff val="-2476961"/>
            <a:satOff val="-20000"/>
            <a:lumOff val="1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long do query plans remain in the plan cache?</a:t>
          </a:r>
        </a:p>
      </dsp:txBody>
      <dsp:txXfrm>
        <a:off x="34726" y="857670"/>
        <a:ext cx="10811273" cy="641908"/>
      </dsp:txXfrm>
    </dsp:sp>
    <dsp:sp modelId="{4CE6D622-6C4B-4912-A756-057BDFDF7259}">
      <dsp:nvSpPr>
        <dsp:cNvPr id="0" name=""/>
        <dsp:cNvSpPr/>
      </dsp:nvSpPr>
      <dsp:spPr>
        <a:xfrm>
          <a:off x="0" y="1643744"/>
          <a:ext cx="10880725" cy="711360"/>
        </a:xfrm>
        <a:prstGeom prst="roundRect">
          <a:avLst/>
        </a:prstGeom>
        <a:solidFill>
          <a:schemeClr val="accent4">
            <a:hueOff val="-4953922"/>
            <a:satOff val="-40000"/>
            <a:lumOff val="3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is plan caching helpful?</a:t>
          </a:r>
        </a:p>
      </dsp:txBody>
      <dsp:txXfrm>
        <a:off x="34726" y="1678470"/>
        <a:ext cx="10811273" cy="641908"/>
      </dsp:txXfrm>
    </dsp:sp>
    <dsp:sp modelId="{0E5177C7-801D-471B-9850-4FD8DFBC4036}">
      <dsp:nvSpPr>
        <dsp:cNvPr id="0" name=""/>
        <dsp:cNvSpPr/>
      </dsp:nvSpPr>
      <dsp:spPr>
        <a:xfrm>
          <a:off x="0" y="2464544"/>
          <a:ext cx="10880725" cy="711360"/>
        </a:xfrm>
        <a:prstGeom prst="roundRect">
          <a:avLst/>
        </a:prstGeom>
        <a:solidFill>
          <a:schemeClr val="accent4">
            <a:hueOff val="-7430884"/>
            <a:satOff val="-60000"/>
            <a:lumOff val="5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are </a:t>
          </a:r>
          <a:r>
            <a:rPr lang="en-US" sz="2400" i="1" kern="1200" dirty="0"/>
            <a:t>ad hoc </a:t>
          </a:r>
          <a:r>
            <a:rPr lang="en-US" sz="2400" kern="1200" dirty="0"/>
            <a:t>query plans sometimes problematic?</a:t>
          </a:r>
        </a:p>
      </dsp:txBody>
      <dsp:txXfrm>
        <a:off x="34726" y="2499270"/>
        <a:ext cx="10811273" cy="641908"/>
      </dsp:txXfrm>
    </dsp:sp>
    <dsp:sp modelId="{D5774165-7248-4210-ABDB-B3EBDE700FEB}">
      <dsp:nvSpPr>
        <dsp:cNvPr id="0" name=""/>
        <dsp:cNvSpPr/>
      </dsp:nvSpPr>
      <dsp:spPr>
        <a:xfrm>
          <a:off x="0" y="3285345"/>
          <a:ext cx="10880725" cy="711360"/>
        </a:xfrm>
        <a:prstGeom prst="roundRect">
          <a:avLst/>
        </a:prstGeom>
        <a:solidFill>
          <a:schemeClr val="accent4">
            <a:hueOff val="-9907844"/>
            <a:satOff val="-80000"/>
            <a:lumOff val="72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lessen the impact of an </a:t>
          </a:r>
          <a:r>
            <a:rPr lang="en-US" sz="2400" i="1" kern="1200" dirty="0"/>
            <a:t>ad hoc </a:t>
          </a:r>
          <a:r>
            <a:rPr lang="en-US" sz="2400" kern="1200" dirty="0"/>
            <a:t>workload?</a:t>
          </a:r>
        </a:p>
      </dsp:txBody>
      <dsp:txXfrm>
        <a:off x="34726" y="3320071"/>
        <a:ext cx="10811273" cy="641908"/>
      </dsp:txXfrm>
    </dsp:sp>
    <dsp:sp modelId="{196D8D5C-AF3C-4B3F-BC76-432EBE3C6399}">
      <dsp:nvSpPr>
        <dsp:cNvPr id="0" name=""/>
        <dsp:cNvSpPr/>
      </dsp:nvSpPr>
      <dsp:spPr>
        <a:xfrm>
          <a:off x="0" y="4106145"/>
          <a:ext cx="10880725" cy="71136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address a parameter sniffing issue?</a:t>
          </a:r>
        </a:p>
      </dsp:txBody>
      <dsp:txXfrm>
        <a:off x="34726" y="4140871"/>
        <a:ext cx="10811273" cy="6419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C3109-A4B9-4C66-9825-7FC920D24281}">
      <dsp:nvSpPr>
        <dsp:cNvPr id="0" name=""/>
        <dsp:cNvSpPr/>
      </dsp:nvSpPr>
      <dsp:spPr>
        <a:xfrm>
          <a:off x="0" y="113420"/>
          <a:ext cx="5826760" cy="119047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Query Store is set at the database level</a:t>
          </a:r>
          <a:endParaRPr lang="en-US" sz="2000" kern="1200"/>
        </a:p>
      </dsp:txBody>
      <dsp:txXfrm>
        <a:off x="58114" y="171534"/>
        <a:ext cx="5710532" cy="1074247"/>
      </dsp:txXfrm>
    </dsp:sp>
    <dsp:sp modelId="{940AAA97-0AD4-43AE-8A9E-D67C5192BF98}">
      <dsp:nvSpPr>
        <dsp:cNvPr id="0" name=""/>
        <dsp:cNvSpPr/>
      </dsp:nvSpPr>
      <dsp:spPr>
        <a:xfrm>
          <a:off x="0" y="1361495"/>
          <a:ext cx="5826760" cy="1190475"/>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annot be used for Master or TempDB system databases but can be enabled for the Model and MSDB system databases. </a:t>
          </a:r>
          <a:endParaRPr lang="en-US" sz="2000" kern="1200"/>
        </a:p>
      </dsp:txBody>
      <dsp:txXfrm>
        <a:off x="58114" y="1419609"/>
        <a:ext cx="5710532" cy="1074247"/>
      </dsp:txXfrm>
    </dsp:sp>
    <dsp:sp modelId="{B405DF18-C403-4EF0-AEB4-ADB4779EBB5A}">
      <dsp:nvSpPr>
        <dsp:cNvPr id="0" name=""/>
        <dsp:cNvSpPr/>
      </dsp:nvSpPr>
      <dsp:spPr>
        <a:xfrm>
          <a:off x="0" y="2609570"/>
          <a:ext cx="5826760" cy="1190475"/>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The user database stores the data in internal tables that can be accessed by using built-in Query Store views.</a:t>
          </a:r>
          <a:endParaRPr lang="en-US" sz="2000" kern="1200"/>
        </a:p>
      </dsp:txBody>
      <dsp:txXfrm>
        <a:off x="58114" y="2667684"/>
        <a:ext cx="5710532" cy="1074247"/>
      </dsp:txXfrm>
    </dsp:sp>
    <dsp:sp modelId="{769C1E20-379B-47E6-908D-ECB246999F97}">
      <dsp:nvSpPr>
        <dsp:cNvPr id="0" name=""/>
        <dsp:cNvSpPr/>
      </dsp:nvSpPr>
      <dsp:spPr>
        <a:xfrm>
          <a:off x="0" y="3857645"/>
          <a:ext cx="5826760" cy="1190475"/>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GB" sz="2000" kern="1200" baseline="0"/>
            <a:t>SQL Server retains this data until the space allocated to Query Store is full or manually purged.</a:t>
          </a:r>
          <a:endParaRPr lang="en-US" sz="2000" kern="1200"/>
        </a:p>
      </dsp:txBody>
      <dsp:txXfrm>
        <a:off x="58114" y="3915759"/>
        <a:ext cx="5710532" cy="107424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79168E-09A7-4FC7-B2EB-4BF2B3280EEA}">
      <dsp:nvSpPr>
        <dsp:cNvPr id="0" name=""/>
        <dsp:cNvSpPr/>
      </dsp:nvSpPr>
      <dsp:spPr>
        <a:xfrm>
          <a:off x="54" y="8144"/>
          <a:ext cx="5233253" cy="7200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Before Query Store</a:t>
          </a:r>
          <a:endParaRPr lang="en-US" sz="2400" kern="1200" dirty="0"/>
        </a:p>
      </dsp:txBody>
      <dsp:txXfrm>
        <a:off x="54" y="8144"/>
        <a:ext cx="5233253" cy="720000"/>
      </dsp:txXfrm>
    </dsp:sp>
    <dsp:sp modelId="{AD82FA61-1850-4B59-B124-9E03954BAFF0}">
      <dsp:nvSpPr>
        <dsp:cNvPr id="0" name=""/>
        <dsp:cNvSpPr/>
      </dsp:nvSpPr>
      <dsp:spPr>
        <a:xfrm>
          <a:off x="54" y="728144"/>
          <a:ext cx="5233253" cy="4653632"/>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Requires manual proactive monitoring to identify execution plan problems.</a:t>
          </a:r>
        </a:p>
        <a:p>
          <a:pPr marL="228600" lvl="1" indent="-228600" algn="l" defTabSz="1066800">
            <a:lnSpc>
              <a:spcPct val="90000"/>
            </a:lnSpc>
            <a:spcBef>
              <a:spcPct val="0"/>
            </a:spcBef>
            <a:spcAft>
              <a:spcPct val="15000"/>
            </a:spcAft>
            <a:buChar char="•"/>
          </a:pPr>
          <a:r>
            <a:rPr lang="en-US" sz="2400" kern="1200" baseline="0" dirty="0"/>
            <a:t>Only the latest plan was stored in the procedure cache</a:t>
          </a:r>
          <a:endParaRPr lang="en-US" sz="2400" kern="1200" dirty="0"/>
        </a:p>
        <a:p>
          <a:pPr marL="228600" lvl="1" indent="-228600" algn="l" defTabSz="1066800">
            <a:lnSpc>
              <a:spcPct val="90000"/>
            </a:lnSpc>
            <a:spcBef>
              <a:spcPct val="0"/>
            </a:spcBef>
            <a:spcAft>
              <a:spcPct val="15000"/>
            </a:spcAft>
            <a:buChar char="•"/>
          </a:pPr>
          <a:r>
            <a:rPr lang="en-US" sz="2400" kern="1200" baseline="0" dirty="0"/>
            <a:t>Restart caused data to be lost</a:t>
          </a:r>
          <a:endParaRPr lang="en-US" sz="2400" kern="1200" dirty="0"/>
        </a:p>
        <a:p>
          <a:pPr marL="228600" lvl="1" indent="-228600" algn="l" defTabSz="1066800">
            <a:lnSpc>
              <a:spcPct val="90000"/>
            </a:lnSpc>
            <a:spcBef>
              <a:spcPct val="0"/>
            </a:spcBef>
            <a:spcAft>
              <a:spcPct val="15000"/>
            </a:spcAft>
            <a:buChar char="•"/>
          </a:pPr>
          <a:r>
            <a:rPr lang="en-US" sz="2400" kern="1200" dirty="0"/>
            <a:t>Frequent recompiles of procedures or use of DBCC FREEPROCACHE</a:t>
          </a:r>
        </a:p>
        <a:p>
          <a:pPr marL="228600" lvl="1" indent="-228600" algn="l" defTabSz="1066800">
            <a:lnSpc>
              <a:spcPct val="90000"/>
            </a:lnSpc>
            <a:spcBef>
              <a:spcPct val="0"/>
            </a:spcBef>
            <a:spcAft>
              <a:spcPct val="15000"/>
            </a:spcAft>
            <a:buChar char="•"/>
          </a:pPr>
          <a:r>
            <a:rPr lang="en-US" sz="2400" kern="1200" baseline="0" dirty="0"/>
            <a:t>No history or aggregated gathering of data available.</a:t>
          </a:r>
          <a:endParaRPr lang="en-US" sz="2400" kern="1200" dirty="0"/>
        </a:p>
      </dsp:txBody>
      <dsp:txXfrm>
        <a:off x="54" y="728144"/>
        <a:ext cx="5233253" cy="4653632"/>
      </dsp:txXfrm>
    </dsp:sp>
    <dsp:sp modelId="{5B3159C4-B630-46CE-86BB-39F10831FF9C}">
      <dsp:nvSpPr>
        <dsp:cNvPr id="0" name=""/>
        <dsp:cNvSpPr/>
      </dsp:nvSpPr>
      <dsp:spPr>
        <a:xfrm>
          <a:off x="5965963" y="8144"/>
          <a:ext cx="5233253" cy="720000"/>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w="6350" cap="flat" cmpd="sng" algn="ctr">
          <a:solidFill>
            <a:schemeClr val="accent2">
              <a:hueOff val="-2667497"/>
              <a:satOff val="55382"/>
              <a:lumOff val="588"/>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With Query Store</a:t>
          </a:r>
        </a:p>
      </dsp:txBody>
      <dsp:txXfrm>
        <a:off x="5965963" y="8144"/>
        <a:ext cx="5233253" cy="720000"/>
      </dsp:txXfrm>
    </dsp:sp>
    <dsp:sp modelId="{821CDC50-C3A6-405C-AC50-7346C099707C}">
      <dsp:nvSpPr>
        <dsp:cNvPr id="0" name=""/>
        <dsp:cNvSpPr/>
      </dsp:nvSpPr>
      <dsp:spPr>
        <a:xfrm>
          <a:off x="5965963" y="728144"/>
          <a:ext cx="5233253" cy="4653632"/>
        </a:xfrm>
        <a:prstGeom prst="rect">
          <a:avLst/>
        </a:prstGeom>
        <a:solidFill>
          <a:schemeClr val="accent2">
            <a:tint val="40000"/>
            <a:alpha val="90000"/>
            <a:hueOff val="-3488517"/>
            <a:satOff val="9327"/>
            <a:lumOff val="1154"/>
            <a:alphaOff val="0"/>
          </a:schemeClr>
        </a:solidFill>
        <a:ln w="6350" cap="flat" cmpd="sng" algn="ctr">
          <a:solidFill>
            <a:schemeClr val="accent2">
              <a:tint val="40000"/>
              <a:alpha val="90000"/>
              <a:hueOff val="-3488517"/>
              <a:satOff val="9327"/>
              <a:lumOff val="1154"/>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It stores the history of the execution plans for each query</a:t>
          </a:r>
          <a:endParaRPr lang="en-US" sz="2400" kern="1200" dirty="0"/>
        </a:p>
        <a:p>
          <a:pPr marL="228600" lvl="1" indent="-228600" algn="l" defTabSz="1066800">
            <a:lnSpc>
              <a:spcPct val="90000"/>
            </a:lnSpc>
            <a:spcBef>
              <a:spcPct val="0"/>
            </a:spcBef>
            <a:spcAft>
              <a:spcPct val="15000"/>
            </a:spcAft>
            <a:buChar char="•"/>
          </a:pPr>
          <a:r>
            <a:rPr lang="en-US" sz="2400" kern="1200"/>
            <a:t>It establishes a performance baseline for each plan over time</a:t>
          </a:r>
          <a:endParaRPr lang="en-US" sz="2400" kern="1200" dirty="0"/>
        </a:p>
        <a:p>
          <a:pPr marL="228600" lvl="1" indent="-228600" algn="l" defTabSz="1066800">
            <a:lnSpc>
              <a:spcPct val="90000"/>
            </a:lnSpc>
            <a:spcBef>
              <a:spcPct val="0"/>
            </a:spcBef>
            <a:spcAft>
              <a:spcPct val="15000"/>
            </a:spcAft>
            <a:buChar char="•"/>
          </a:pPr>
          <a:r>
            <a:rPr lang="en-US" sz="2400" kern="1200" dirty="0"/>
            <a:t>It identifies queries that may have regressed</a:t>
          </a:r>
        </a:p>
        <a:p>
          <a:pPr marL="228600" lvl="1" indent="-228600" algn="l" defTabSz="1066800">
            <a:lnSpc>
              <a:spcPct val="90000"/>
            </a:lnSpc>
            <a:spcBef>
              <a:spcPct val="0"/>
            </a:spcBef>
            <a:spcAft>
              <a:spcPct val="15000"/>
            </a:spcAft>
            <a:buChar char="•"/>
          </a:pPr>
          <a:r>
            <a:rPr lang="en-US" sz="2400" kern="1200"/>
            <a:t>It is possible to force plans quickly and easily</a:t>
          </a:r>
          <a:endParaRPr lang="en-US" sz="2400" kern="1200" dirty="0"/>
        </a:p>
        <a:p>
          <a:pPr marL="228600" lvl="1" indent="-228600" algn="l" defTabSz="1066800">
            <a:lnSpc>
              <a:spcPct val="90000"/>
            </a:lnSpc>
            <a:spcBef>
              <a:spcPct val="0"/>
            </a:spcBef>
            <a:spcAft>
              <a:spcPct val="15000"/>
            </a:spcAft>
            <a:buChar char="•"/>
          </a:pPr>
          <a:r>
            <a:rPr lang="en-US" sz="2400" kern="1200"/>
            <a:t>It works across server restarts, upgrades, and query recompilation</a:t>
          </a:r>
          <a:endParaRPr lang="en-US" sz="2400" kern="1200" dirty="0"/>
        </a:p>
      </dsp:txBody>
      <dsp:txXfrm>
        <a:off x="5965963" y="728144"/>
        <a:ext cx="5233253" cy="465363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AF37FB-8950-48FC-A956-F2C23460F934}">
      <dsp:nvSpPr>
        <dsp:cNvPr id="0" name=""/>
        <dsp:cNvSpPr/>
      </dsp:nvSpPr>
      <dsp:spPr>
        <a:xfrm rot="5400000">
          <a:off x="7149122" y="-3169228"/>
          <a:ext cx="499543"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Automatic detection of queries that have begun executing more slowly</a:t>
          </a:r>
        </a:p>
      </dsp:txBody>
      <dsp:txXfrm rot="-5400000">
        <a:off x="3917062" y="87218"/>
        <a:ext cx="6939278" cy="450771"/>
      </dsp:txXfrm>
    </dsp:sp>
    <dsp:sp modelId="{C59F892A-608C-481C-9E01-C77539E39B13}">
      <dsp:nvSpPr>
        <dsp:cNvPr id="0" name=""/>
        <dsp:cNvSpPr/>
      </dsp:nvSpPr>
      <dsp:spPr>
        <a:xfrm>
          <a:off x="0" y="389"/>
          <a:ext cx="3917061" cy="62442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Regressed queries</a:t>
          </a:r>
          <a:endParaRPr lang="en-US" sz="1900" kern="1200" dirty="0"/>
        </a:p>
      </dsp:txBody>
      <dsp:txXfrm>
        <a:off x="30482" y="30871"/>
        <a:ext cx="3856097" cy="563465"/>
      </dsp:txXfrm>
    </dsp:sp>
    <dsp:sp modelId="{70A9AAC9-17D6-4F66-BA76-E8CCAA700E01}">
      <dsp:nvSpPr>
        <dsp:cNvPr id="0" name=""/>
        <dsp:cNvSpPr/>
      </dsp:nvSpPr>
      <dsp:spPr>
        <a:xfrm rot="5400000">
          <a:off x="7149122" y="-2513577"/>
          <a:ext cx="499543" cy="6963664"/>
        </a:xfrm>
        <a:prstGeom prst="round2SameRect">
          <a:avLst/>
        </a:prstGeom>
        <a:solidFill>
          <a:schemeClr val="accent2">
            <a:tint val="40000"/>
            <a:alpha val="90000"/>
            <a:hueOff val="-581420"/>
            <a:satOff val="1555"/>
            <a:lumOff val="192"/>
            <a:alphaOff val="0"/>
          </a:schemeClr>
        </a:solidFill>
        <a:ln w="12700" cap="flat" cmpd="sng" algn="ctr">
          <a:solidFill>
            <a:schemeClr val="accent2">
              <a:tint val="40000"/>
              <a:alpha val="90000"/>
              <a:hueOff val="-581420"/>
              <a:satOff val="1555"/>
              <a:lumOff val="1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Historic view across 4 performance metrics of your choice</a:t>
          </a:r>
        </a:p>
      </dsp:txBody>
      <dsp:txXfrm rot="-5400000">
        <a:off x="3917062" y="742869"/>
        <a:ext cx="6939278" cy="450771"/>
      </dsp:txXfrm>
    </dsp:sp>
    <dsp:sp modelId="{88A25FF8-3784-49EC-B1C8-C5FB8E1C6FDB}">
      <dsp:nvSpPr>
        <dsp:cNvPr id="0" name=""/>
        <dsp:cNvSpPr/>
      </dsp:nvSpPr>
      <dsp:spPr>
        <a:xfrm>
          <a:off x="0" y="656040"/>
          <a:ext cx="3917061" cy="624429"/>
        </a:xfrm>
        <a:prstGeom prst="roundRect">
          <a:avLst/>
        </a:prstGeom>
        <a:solidFill>
          <a:schemeClr val="accent2">
            <a:hueOff val="-444583"/>
            <a:satOff val="9230"/>
            <a:lumOff val="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Overall resource consumption</a:t>
          </a:r>
          <a:endParaRPr lang="en-US" sz="1900" kern="1200" dirty="0"/>
        </a:p>
      </dsp:txBody>
      <dsp:txXfrm>
        <a:off x="30482" y="686522"/>
        <a:ext cx="3856097" cy="563465"/>
      </dsp:txXfrm>
    </dsp:sp>
    <dsp:sp modelId="{2C66BCE4-FB4D-48BE-9712-EB30DDB31863}">
      <dsp:nvSpPr>
        <dsp:cNvPr id="0" name=""/>
        <dsp:cNvSpPr/>
      </dsp:nvSpPr>
      <dsp:spPr>
        <a:xfrm rot="5400000">
          <a:off x="7149122" y="-1857926"/>
          <a:ext cx="499543"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Which queries are the costliest to execute</a:t>
          </a:r>
        </a:p>
      </dsp:txBody>
      <dsp:txXfrm rot="-5400000">
        <a:off x="3917062" y="1398520"/>
        <a:ext cx="6939278" cy="450771"/>
      </dsp:txXfrm>
    </dsp:sp>
    <dsp:sp modelId="{FA24B684-D07D-43D3-B2EF-13567E552E53}">
      <dsp:nvSpPr>
        <dsp:cNvPr id="0" name=""/>
        <dsp:cNvSpPr/>
      </dsp:nvSpPr>
      <dsp:spPr>
        <a:xfrm>
          <a:off x="0" y="1311690"/>
          <a:ext cx="3917061" cy="62442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Top Resource-consuming queries</a:t>
          </a:r>
          <a:endParaRPr lang="en-US" sz="1900" kern="1200" dirty="0"/>
        </a:p>
      </dsp:txBody>
      <dsp:txXfrm>
        <a:off x="30482" y="1342172"/>
        <a:ext cx="3856097" cy="563465"/>
      </dsp:txXfrm>
    </dsp:sp>
    <dsp:sp modelId="{FD4C8C8E-60CD-4605-8BEB-983B6BAB5054}">
      <dsp:nvSpPr>
        <dsp:cNvPr id="0" name=""/>
        <dsp:cNvSpPr/>
      </dsp:nvSpPr>
      <dsp:spPr>
        <a:xfrm rot="5400000">
          <a:off x="7149122" y="-1202276"/>
          <a:ext cx="499543" cy="6963664"/>
        </a:xfrm>
        <a:prstGeom prst="round2Same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Check on the performance of queries using forced plans</a:t>
          </a:r>
        </a:p>
      </dsp:txBody>
      <dsp:txXfrm rot="-5400000">
        <a:off x="3917062" y="2054170"/>
        <a:ext cx="6939278" cy="450771"/>
      </dsp:txXfrm>
    </dsp:sp>
    <dsp:sp modelId="{0D036705-13ED-44A2-8664-C29AA07A2151}">
      <dsp:nvSpPr>
        <dsp:cNvPr id="0" name=""/>
        <dsp:cNvSpPr/>
      </dsp:nvSpPr>
      <dsp:spPr>
        <a:xfrm>
          <a:off x="0" y="1967341"/>
          <a:ext cx="3917061" cy="624429"/>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Queries with forced plans</a:t>
          </a:r>
          <a:endParaRPr lang="en-US" sz="1900" kern="1200" dirty="0"/>
        </a:p>
      </dsp:txBody>
      <dsp:txXfrm>
        <a:off x="30482" y="1997823"/>
        <a:ext cx="3856097" cy="563465"/>
      </dsp:txXfrm>
    </dsp:sp>
    <dsp:sp modelId="{91D08C9C-8FBF-453C-B584-52F4E5E4971A}">
      <dsp:nvSpPr>
        <dsp:cNvPr id="0" name=""/>
        <dsp:cNvSpPr/>
      </dsp:nvSpPr>
      <dsp:spPr>
        <a:xfrm rot="5400000">
          <a:off x="7149122" y="-546625"/>
          <a:ext cx="499543"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nconsistently performing queries may need tuning</a:t>
          </a:r>
        </a:p>
      </dsp:txBody>
      <dsp:txXfrm rot="-5400000">
        <a:off x="3917062" y="2709821"/>
        <a:ext cx="6939278" cy="450771"/>
      </dsp:txXfrm>
    </dsp:sp>
    <dsp:sp modelId="{61CD7032-9109-4483-9D0F-0B8F6A12D39B}">
      <dsp:nvSpPr>
        <dsp:cNvPr id="0" name=""/>
        <dsp:cNvSpPr/>
      </dsp:nvSpPr>
      <dsp:spPr>
        <a:xfrm>
          <a:off x="0" y="2622992"/>
          <a:ext cx="3917061" cy="62442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Queries with high variation</a:t>
          </a:r>
          <a:endParaRPr lang="en-US" sz="1900" kern="1200" dirty="0"/>
        </a:p>
      </dsp:txBody>
      <dsp:txXfrm>
        <a:off x="30482" y="2653474"/>
        <a:ext cx="3856097" cy="563465"/>
      </dsp:txXfrm>
    </dsp:sp>
    <dsp:sp modelId="{CA44C446-E7D1-4431-AD1D-2415146A8D34}">
      <dsp:nvSpPr>
        <dsp:cNvPr id="0" name=""/>
        <dsp:cNvSpPr/>
      </dsp:nvSpPr>
      <dsp:spPr>
        <a:xfrm rot="5400000">
          <a:off x="7149122" y="109024"/>
          <a:ext cx="499543" cy="6963664"/>
        </a:xfrm>
        <a:prstGeom prst="round2SameRect">
          <a:avLst/>
        </a:prstGeom>
        <a:solidFill>
          <a:schemeClr val="accent2">
            <a:tint val="40000"/>
            <a:alpha val="90000"/>
            <a:hueOff val="-2907098"/>
            <a:satOff val="7773"/>
            <a:lumOff val="962"/>
            <a:alphaOff val="0"/>
          </a:schemeClr>
        </a:solidFill>
        <a:ln w="12700" cap="flat" cmpd="sng" algn="ctr">
          <a:solidFill>
            <a:schemeClr val="accent2">
              <a:tint val="40000"/>
              <a:alpha val="90000"/>
              <a:hueOff val="-2907098"/>
              <a:satOff val="7773"/>
              <a:lumOff val="9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dentify performance bottlenecks</a:t>
          </a:r>
        </a:p>
      </dsp:txBody>
      <dsp:txXfrm rot="-5400000">
        <a:off x="3917062" y="3365470"/>
        <a:ext cx="6939278" cy="450771"/>
      </dsp:txXfrm>
    </dsp:sp>
    <dsp:sp modelId="{A4E3257A-0251-4A9F-8608-75E54D82B8BD}">
      <dsp:nvSpPr>
        <dsp:cNvPr id="0" name=""/>
        <dsp:cNvSpPr/>
      </dsp:nvSpPr>
      <dsp:spPr>
        <a:xfrm>
          <a:off x="0" y="3278642"/>
          <a:ext cx="3917061" cy="624429"/>
        </a:xfrm>
        <a:prstGeom prst="roundRect">
          <a:avLst/>
        </a:prstGeom>
        <a:solidFill>
          <a:schemeClr val="accent2">
            <a:hueOff val="-2222914"/>
            <a:satOff val="46152"/>
            <a:lumOff val="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Query wait statistics</a:t>
          </a:r>
          <a:endParaRPr lang="en-US" sz="1900" kern="1200" dirty="0"/>
        </a:p>
      </dsp:txBody>
      <dsp:txXfrm>
        <a:off x="30482" y="3309124"/>
        <a:ext cx="3856097" cy="563465"/>
      </dsp:txXfrm>
    </dsp:sp>
    <dsp:sp modelId="{9351A76D-9D2F-478B-9C50-6DFDF3F59885}">
      <dsp:nvSpPr>
        <dsp:cNvPr id="0" name=""/>
        <dsp:cNvSpPr/>
      </dsp:nvSpPr>
      <dsp:spPr>
        <a:xfrm rot="5400000">
          <a:off x="7149122" y="764675"/>
          <a:ext cx="499543"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Focus on plans and metrics for a single query</a:t>
          </a:r>
        </a:p>
      </dsp:txBody>
      <dsp:txXfrm rot="-5400000">
        <a:off x="3917062" y="4021121"/>
        <a:ext cx="6939278" cy="450771"/>
      </dsp:txXfrm>
    </dsp:sp>
    <dsp:sp modelId="{0E0160EC-2C7B-47F9-A2BC-5914209AA1F3}">
      <dsp:nvSpPr>
        <dsp:cNvPr id="0" name=""/>
        <dsp:cNvSpPr/>
      </dsp:nvSpPr>
      <dsp:spPr>
        <a:xfrm>
          <a:off x="0" y="3934293"/>
          <a:ext cx="3917061" cy="62442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Tracked queries</a:t>
          </a:r>
          <a:endParaRPr lang="en-US" sz="1900" kern="1200" dirty="0"/>
        </a:p>
      </dsp:txBody>
      <dsp:txXfrm>
        <a:off x="30482" y="3964775"/>
        <a:ext cx="3856097" cy="56346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58F0B-3705-4BDE-875B-8462A329C789}">
      <dsp:nvSpPr>
        <dsp:cNvPr id="0" name=""/>
        <dsp:cNvSpPr/>
      </dsp:nvSpPr>
      <dsp:spPr>
        <a:xfrm rot="5400000">
          <a:off x="1665793" y="718693"/>
          <a:ext cx="3855720" cy="3382262"/>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Total</a:t>
          </a:r>
          <a:endParaRPr lang="en-US" sz="2000" kern="1200" dirty="0"/>
        </a:p>
        <a:p>
          <a:pPr marL="228600" lvl="1" indent="-228600" algn="l" defTabSz="889000">
            <a:lnSpc>
              <a:spcPct val="90000"/>
            </a:lnSpc>
            <a:spcBef>
              <a:spcPct val="0"/>
            </a:spcBef>
            <a:spcAft>
              <a:spcPct val="15000"/>
            </a:spcAft>
            <a:buChar char="•"/>
          </a:pPr>
          <a:r>
            <a:rPr lang="en-US" sz="2000" kern="1200" baseline="0" dirty="0"/>
            <a:t>Min</a:t>
          </a:r>
          <a:endParaRPr lang="en-US" sz="2000" kern="1200" dirty="0"/>
        </a:p>
        <a:p>
          <a:pPr marL="228600" lvl="1" indent="-228600" algn="l" defTabSz="889000">
            <a:lnSpc>
              <a:spcPct val="90000"/>
            </a:lnSpc>
            <a:spcBef>
              <a:spcPct val="0"/>
            </a:spcBef>
            <a:spcAft>
              <a:spcPct val="15000"/>
            </a:spcAft>
            <a:buChar char="•"/>
          </a:pPr>
          <a:r>
            <a:rPr lang="en-US" sz="2000" kern="1200" baseline="0" dirty="0"/>
            <a:t>Max</a:t>
          </a:r>
          <a:endParaRPr lang="en-US" sz="2000" kern="1200" dirty="0"/>
        </a:p>
        <a:p>
          <a:pPr marL="228600" lvl="1" indent="-228600" algn="l" defTabSz="889000">
            <a:lnSpc>
              <a:spcPct val="90000"/>
            </a:lnSpc>
            <a:spcBef>
              <a:spcPct val="0"/>
            </a:spcBef>
            <a:spcAft>
              <a:spcPct val="15000"/>
            </a:spcAft>
            <a:buChar char="•"/>
          </a:pPr>
          <a:r>
            <a:rPr lang="en-US" sz="2000" kern="1200" baseline="0" dirty="0"/>
            <a:t>Avg</a:t>
          </a:r>
          <a:endParaRPr lang="en-US" sz="2000" kern="1200" dirty="0"/>
        </a:p>
        <a:p>
          <a:pPr marL="228600" lvl="1" indent="-228600" algn="l" defTabSz="889000">
            <a:lnSpc>
              <a:spcPct val="90000"/>
            </a:lnSpc>
            <a:spcBef>
              <a:spcPct val="0"/>
            </a:spcBef>
            <a:spcAft>
              <a:spcPct val="15000"/>
            </a:spcAft>
            <a:buChar char="•"/>
          </a:pPr>
          <a:r>
            <a:rPr lang="en-US" sz="2000" kern="1200" baseline="0" dirty="0"/>
            <a:t>Standard Deviation</a:t>
          </a:r>
          <a:endParaRPr lang="en-US" sz="2000" kern="1200" dirty="0"/>
        </a:p>
      </dsp:txBody>
      <dsp:txXfrm rot="-5400000">
        <a:off x="1902522" y="647072"/>
        <a:ext cx="3217154" cy="3525504"/>
      </dsp:txXfrm>
    </dsp:sp>
    <dsp:sp modelId="{086FF4FD-422F-4991-98D0-CD9E311A2A35}">
      <dsp:nvSpPr>
        <dsp:cNvPr id="0" name=""/>
        <dsp:cNvSpPr/>
      </dsp:nvSpPr>
      <dsp:spPr>
        <a:xfrm>
          <a:off x="0" y="0"/>
          <a:ext cx="1902522"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ggregate statistics</a:t>
          </a:r>
          <a:endParaRPr lang="en-US" sz="2400" kern="1200" dirty="0"/>
        </a:p>
      </dsp:txBody>
      <dsp:txXfrm>
        <a:off x="92873" y="92873"/>
        <a:ext cx="1716776" cy="463390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46D012-5A8A-4EAC-A206-34D514DF839A}">
      <dsp:nvSpPr>
        <dsp:cNvPr id="0" name=""/>
        <dsp:cNvSpPr/>
      </dsp:nvSpPr>
      <dsp:spPr>
        <a:xfrm>
          <a:off x="0" y="26076"/>
          <a:ext cx="10880726" cy="748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dirty="0"/>
            <a:t>Execution metrics for queries run on secondary replicas</a:t>
          </a:r>
        </a:p>
      </dsp:txBody>
      <dsp:txXfrm>
        <a:off x="36553" y="62629"/>
        <a:ext cx="10807620" cy="675694"/>
      </dsp:txXfrm>
    </dsp:sp>
    <dsp:sp modelId="{B0E1E4A6-B7E0-4837-97CC-2982FDA7A498}">
      <dsp:nvSpPr>
        <dsp:cNvPr id="0" name=""/>
        <dsp:cNvSpPr/>
      </dsp:nvSpPr>
      <dsp:spPr>
        <a:xfrm>
          <a:off x="0" y="890076"/>
          <a:ext cx="10880726" cy="748800"/>
        </a:xfrm>
        <a:prstGeom prst="round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a:t>Data is sent from secondaries back to the primary replica</a:t>
          </a:r>
        </a:p>
      </dsp:txBody>
      <dsp:txXfrm>
        <a:off x="36553" y="926629"/>
        <a:ext cx="10807620" cy="675694"/>
      </dsp:txXfrm>
    </dsp:sp>
    <dsp:sp modelId="{7956D9E2-5603-4D64-A574-C6BC938A0E25}">
      <dsp:nvSpPr>
        <dsp:cNvPr id="0" name=""/>
        <dsp:cNvSpPr/>
      </dsp:nvSpPr>
      <dsp:spPr>
        <a:xfrm>
          <a:off x="0" y="1754076"/>
          <a:ext cx="10880726" cy="748800"/>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dirty="0"/>
            <a:t>Persisted in the primary replica’s Query Store</a:t>
          </a:r>
        </a:p>
      </dsp:txBody>
      <dsp:txXfrm>
        <a:off x="36553" y="1790629"/>
        <a:ext cx="10807620" cy="675694"/>
      </dsp:txXfrm>
    </dsp:sp>
    <dsp:sp modelId="{206FCD88-4DCA-4270-9353-0269832EFBF5}">
      <dsp:nvSpPr>
        <dsp:cNvPr id="0" name=""/>
        <dsp:cNvSpPr/>
      </dsp:nvSpPr>
      <dsp:spPr>
        <a:xfrm>
          <a:off x="0" y="2618076"/>
          <a:ext cx="10880726" cy="748800"/>
        </a:xfrm>
        <a:prstGeom prst="round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b="0" i="0" kern="1200" dirty="0"/>
            <a:t>You must enable trace flag 12606 before you can enable Query Store for secondary replicas.</a:t>
          </a:r>
          <a:endParaRPr lang="en-US" sz="2000" kern="1200" dirty="0"/>
        </a:p>
      </dsp:txBody>
      <dsp:txXfrm>
        <a:off x="36553" y="2654629"/>
        <a:ext cx="10807620" cy="675694"/>
      </dsp:txXfrm>
    </dsp:sp>
    <dsp:sp modelId="{ABAEEEFF-98DA-48A0-A294-EA55118D76B8}">
      <dsp:nvSpPr>
        <dsp:cNvPr id="0" name=""/>
        <dsp:cNvSpPr/>
      </dsp:nvSpPr>
      <dsp:spPr>
        <a:xfrm>
          <a:off x="0" y="3482076"/>
          <a:ext cx="10880726" cy="74880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a:t>Considerations</a:t>
          </a:r>
        </a:p>
      </dsp:txBody>
      <dsp:txXfrm>
        <a:off x="36553" y="3518629"/>
        <a:ext cx="10807620" cy="675694"/>
      </dsp:txXfrm>
    </dsp:sp>
    <dsp:sp modelId="{E0D87532-4BC4-4B16-A605-E37F028974FF}">
      <dsp:nvSpPr>
        <dsp:cNvPr id="0" name=""/>
        <dsp:cNvSpPr/>
      </dsp:nvSpPr>
      <dsp:spPr>
        <a:xfrm>
          <a:off x="0" y="4230876"/>
          <a:ext cx="10880726" cy="1200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100000"/>
            </a:lnSpc>
            <a:spcBef>
              <a:spcPct val="0"/>
            </a:spcBef>
            <a:spcAft>
              <a:spcPct val="20000"/>
            </a:spcAft>
            <a:buChar char="•"/>
          </a:pPr>
          <a:r>
            <a:rPr lang="en-US" sz="2000" kern="1200" dirty="0"/>
            <a:t>Sharing bandwidth with outgoing transaction records</a:t>
          </a:r>
        </a:p>
        <a:p>
          <a:pPr marL="228600" lvl="1" indent="-228600" algn="l" defTabSz="889000">
            <a:lnSpc>
              <a:spcPct val="100000"/>
            </a:lnSpc>
            <a:spcBef>
              <a:spcPct val="0"/>
            </a:spcBef>
            <a:spcAft>
              <a:spcPct val="20000"/>
            </a:spcAft>
            <a:buChar char="•"/>
          </a:pPr>
          <a:r>
            <a:rPr lang="en-US" sz="2000" kern="1200" dirty="0"/>
            <a:t>A shared Query Store will be larger </a:t>
          </a:r>
        </a:p>
        <a:p>
          <a:pPr marL="228600" lvl="1" indent="-228600" algn="l" defTabSz="889000">
            <a:lnSpc>
              <a:spcPct val="100000"/>
            </a:lnSpc>
            <a:spcBef>
              <a:spcPct val="0"/>
            </a:spcBef>
            <a:spcAft>
              <a:spcPct val="20000"/>
            </a:spcAft>
            <a:buChar char="•"/>
          </a:pPr>
          <a:r>
            <a:rPr lang="en-US" sz="2000" kern="1200" dirty="0"/>
            <a:t>Impact of </a:t>
          </a:r>
          <a:r>
            <a:rPr lang="en-US" sz="2000" i="1" kern="1200" dirty="0"/>
            <a:t>ad hoc </a:t>
          </a:r>
          <a:r>
            <a:rPr lang="en-US" sz="2000" kern="1200" dirty="0"/>
            <a:t>workloads run on secondary replicas</a:t>
          </a:r>
        </a:p>
      </dsp:txBody>
      <dsp:txXfrm>
        <a:off x="0" y="4230876"/>
        <a:ext cx="10880726" cy="120060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92D4A8-0738-4BB0-991C-9A2C35B6FA78}">
      <dsp:nvSpPr>
        <dsp:cNvPr id="0" name=""/>
        <dsp:cNvSpPr/>
      </dsp:nvSpPr>
      <dsp:spPr>
        <a:xfrm>
          <a:off x="0" y="9762"/>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Query Store hints are available in Azure SQL Database and Azure SQL Managed Instance. Query Store hints are also a feature introduced to SQL Server in SQL Server 2022 (16.x).</a:t>
          </a:r>
          <a:endParaRPr lang="en-US" sz="2000" kern="1200" dirty="0"/>
        </a:p>
      </dsp:txBody>
      <dsp:txXfrm>
        <a:off x="43864" y="53626"/>
        <a:ext cx="10792998" cy="810832"/>
      </dsp:txXfrm>
    </dsp:sp>
    <dsp:sp modelId="{BDD851FB-5447-41CD-9C45-200B8064F80C}">
      <dsp:nvSpPr>
        <dsp:cNvPr id="0" name=""/>
        <dsp:cNvSpPr/>
      </dsp:nvSpPr>
      <dsp:spPr>
        <a:xfrm>
          <a:off x="0" y="1046562"/>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As the name suggests, this feature extends and depends on the </a:t>
          </a:r>
          <a:r>
            <a:rPr lang="en-US" sz="2000" b="1" i="0" kern="1200" dirty="0">
              <a:hlinkClick xmlns:r="http://schemas.openxmlformats.org/officeDocument/2006/relationships" r:id="rId1"/>
            </a:rPr>
            <a:t>Query Store</a:t>
          </a:r>
          <a:r>
            <a:rPr lang="en-US" sz="2000" b="0" i="0" kern="1200" dirty="0"/>
            <a:t>. </a:t>
          </a:r>
          <a:endParaRPr lang="en-US" sz="2000" kern="1200" dirty="0"/>
        </a:p>
      </dsp:txBody>
      <dsp:txXfrm>
        <a:off x="43864" y="1090426"/>
        <a:ext cx="10792998" cy="810832"/>
      </dsp:txXfrm>
    </dsp:sp>
    <dsp:sp modelId="{720BCFBD-0752-4126-838F-AF3F21F8B494}">
      <dsp:nvSpPr>
        <dsp:cNvPr id="0" name=""/>
        <dsp:cNvSpPr/>
      </dsp:nvSpPr>
      <dsp:spPr>
        <a:xfrm>
          <a:off x="0" y="2083363"/>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Not all query hints are supported. Here is a list of </a:t>
          </a:r>
          <a:r>
            <a:rPr lang="en-US" sz="2000" b="1" i="0" kern="1200">
              <a:hlinkClick xmlns:r="http://schemas.openxmlformats.org/officeDocument/2006/relationships" r:id="rId2"/>
            </a:rPr>
            <a:t>Supported query hints</a:t>
          </a:r>
          <a:r>
            <a:rPr lang="en-US" sz="2000" b="1" i="0" kern="1200"/>
            <a:t>.</a:t>
          </a:r>
          <a:endParaRPr lang="en-US" sz="2000" kern="1200" dirty="0"/>
        </a:p>
      </dsp:txBody>
      <dsp:txXfrm>
        <a:off x="43864" y="2127227"/>
        <a:ext cx="10792998" cy="810832"/>
      </dsp:txXfrm>
    </dsp:sp>
    <dsp:sp modelId="{F24E5A99-3377-41C8-A556-898BEFE224D7}">
      <dsp:nvSpPr>
        <dsp:cNvPr id="0" name=""/>
        <dsp:cNvSpPr/>
      </dsp:nvSpPr>
      <dsp:spPr>
        <a:xfrm>
          <a:off x="0" y="3120162"/>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Because the SQL Server Query Optimizer typically selects the best execution plan for a query, we recommend only using hints as a last resort. For more information, </a:t>
          </a:r>
          <a:r>
            <a:rPr lang="en-US" sz="2000" b="1" i="0" kern="1200" dirty="0">
              <a:hlinkClick xmlns:r="http://schemas.openxmlformats.org/officeDocument/2006/relationships" r:id="rId3"/>
            </a:rPr>
            <a:t>Query Hints</a:t>
          </a:r>
          <a:r>
            <a:rPr lang="en-US" sz="2000" b="0" i="0" kern="1200" dirty="0"/>
            <a:t>.</a:t>
          </a:r>
          <a:endParaRPr lang="en-US" sz="2000" kern="1200" dirty="0"/>
        </a:p>
      </dsp:txBody>
      <dsp:txXfrm>
        <a:off x="43864" y="3164026"/>
        <a:ext cx="10792998" cy="81083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4F34F9-6CB3-4FEC-BB5A-6710F3F2402C}">
      <dsp:nvSpPr>
        <dsp:cNvPr id="0" name=""/>
        <dsp:cNvSpPr/>
      </dsp:nvSpPr>
      <dsp:spPr>
        <a:xfrm>
          <a:off x="0" y="426052"/>
          <a:ext cx="10880726" cy="45675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When code can’t be changed</a:t>
          </a:r>
        </a:p>
        <a:p>
          <a:pPr marL="228600" lvl="1" indent="-228600" algn="l" defTabSz="1111250">
            <a:lnSpc>
              <a:spcPct val="90000"/>
            </a:lnSpc>
            <a:spcBef>
              <a:spcPct val="0"/>
            </a:spcBef>
            <a:spcAft>
              <a:spcPct val="15000"/>
            </a:spcAft>
            <a:buChar char="•"/>
          </a:pPr>
          <a:r>
            <a:rPr lang="en-US" sz="2500" kern="1200" dirty="0"/>
            <a:t>Override other hints/plan guides</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dirty="0"/>
            <a:t>Recompile a query on each execution.</a:t>
          </a:r>
          <a:endParaRPr lang="en-US" sz="2500" kern="1200" dirty="0"/>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a:t>Cap the memory grant size for a bulk insert operation.</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a:t>Limit the maximum degree of parallelism when updating statistics.</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a:t>Use a Hash join instead of a Nested Loops join.</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dirty="0"/>
            <a:t>Use </a:t>
          </a:r>
          <a:r>
            <a:rPr lang="en-US" sz="2500" b="0" i="0" kern="1200" dirty="0">
              <a:hlinkClick xmlns:r="http://schemas.openxmlformats.org/officeDocument/2006/relationships" r:id="rId1"/>
            </a:rPr>
            <a:t>compatibility level</a:t>
          </a:r>
          <a:r>
            <a:rPr lang="en-US" sz="2500" b="0" i="0" kern="1200" dirty="0"/>
            <a:t> 110 for a specific query while keeping everything else in the database at compatibility level 150.</a:t>
          </a:r>
        </a:p>
      </dsp:txBody>
      <dsp:txXfrm>
        <a:off x="0" y="426052"/>
        <a:ext cx="10880726" cy="4567500"/>
      </dsp:txXfrm>
    </dsp:sp>
    <dsp:sp modelId="{FAF1D23B-AB2A-49DD-98FA-097F55A966C8}">
      <dsp:nvSpPr>
        <dsp:cNvPr id="0" name=""/>
        <dsp:cNvSpPr/>
      </dsp:nvSpPr>
      <dsp:spPr>
        <a:xfrm>
          <a:off x="544036" y="57052"/>
          <a:ext cx="7616508" cy="73800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US" sz="2500" kern="1200" dirty="0"/>
            <a:t>Use Cases</a:t>
          </a:r>
        </a:p>
      </dsp:txBody>
      <dsp:txXfrm>
        <a:off x="580062" y="93078"/>
        <a:ext cx="7544456" cy="665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9FE26-4822-4DF1-A679-9872F5820011}">
      <dsp:nvSpPr>
        <dsp:cNvPr id="0" name=""/>
        <dsp:cNvSpPr/>
      </dsp:nvSpPr>
      <dsp:spPr>
        <a:xfrm>
          <a:off x="0" y="249830"/>
          <a:ext cx="10880726" cy="7497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Stored procedures, functions, triggers</a:t>
          </a:r>
          <a:endParaRPr lang="en-US" sz="2000" kern="1200" dirty="0">
            <a:latin typeface="Segoe UI" panose="020B0502040204020203" pitchFamily="34" charset="0"/>
          </a:endParaRPr>
        </a:p>
      </dsp:txBody>
      <dsp:txXfrm>
        <a:off x="0" y="249830"/>
        <a:ext cx="10880726" cy="749700"/>
      </dsp:txXfrm>
    </dsp:sp>
    <dsp:sp modelId="{4D8FEBEF-41A5-4840-8C33-571197C816C3}">
      <dsp:nvSpPr>
        <dsp:cNvPr id="0" name=""/>
        <dsp:cNvSpPr/>
      </dsp:nvSpPr>
      <dsp:spPr>
        <a:xfrm>
          <a:off x="544036" y="43190"/>
          <a:ext cx="7616508" cy="413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Object plans:</a:t>
          </a:r>
          <a:endParaRPr lang="en-US" sz="2600" kern="1200" dirty="0">
            <a:latin typeface="Segoe UI" panose="020B0502040204020203" pitchFamily="34" charset="0"/>
          </a:endParaRPr>
        </a:p>
      </dsp:txBody>
      <dsp:txXfrm>
        <a:off x="564211" y="63365"/>
        <a:ext cx="7576158" cy="372930"/>
      </dsp:txXfrm>
    </dsp:sp>
    <dsp:sp modelId="{3EFC49D7-8BB1-43E9-91AA-D13C104FA8DF}">
      <dsp:nvSpPr>
        <dsp:cNvPr id="0" name=""/>
        <dsp:cNvSpPr/>
      </dsp:nvSpPr>
      <dsp:spPr>
        <a:xfrm>
          <a:off x="0" y="1281770"/>
          <a:ext cx="10880726" cy="7497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Prepared plans and </a:t>
          </a:r>
          <a:r>
            <a:rPr lang="en-US" sz="2000" i="1" kern="1200" baseline="0" dirty="0">
              <a:latin typeface="Segoe UI" panose="020B0502040204020203" pitchFamily="34" charset="0"/>
            </a:rPr>
            <a:t>ad hoc </a:t>
          </a:r>
          <a:r>
            <a:rPr lang="en-US" sz="2000" kern="1200" baseline="0" dirty="0">
              <a:latin typeface="Segoe UI" panose="020B0502040204020203" pitchFamily="34" charset="0"/>
            </a:rPr>
            <a:t>plans</a:t>
          </a:r>
          <a:endParaRPr lang="en-US" sz="2000" kern="1200" dirty="0">
            <a:latin typeface="Segoe UI" panose="020B0502040204020203" pitchFamily="34" charset="0"/>
          </a:endParaRPr>
        </a:p>
      </dsp:txBody>
      <dsp:txXfrm>
        <a:off x="0" y="1281770"/>
        <a:ext cx="10880726" cy="749700"/>
      </dsp:txXfrm>
    </dsp:sp>
    <dsp:sp modelId="{65C37683-9B5E-499D-99DF-94C70AA7B054}">
      <dsp:nvSpPr>
        <dsp:cNvPr id="0" name=""/>
        <dsp:cNvSpPr/>
      </dsp:nvSpPr>
      <dsp:spPr>
        <a:xfrm>
          <a:off x="544036" y="1075130"/>
          <a:ext cx="7616508" cy="41328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SQL Plans</a:t>
          </a:r>
          <a:r>
            <a:rPr lang="en-US" sz="2600" kern="1200" baseline="0">
              <a:latin typeface="Segoe UI" panose="020B0502040204020203" pitchFamily="34" charset="0"/>
            </a:rPr>
            <a:t>:</a:t>
          </a:r>
          <a:endParaRPr lang="en-US" sz="2600" kern="1200" dirty="0">
            <a:latin typeface="Segoe UI" panose="020B0502040204020203" pitchFamily="34" charset="0"/>
          </a:endParaRPr>
        </a:p>
      </dsp:txBody>
      <dsp:txXfrm>
        <a:off x="564211" y="1095305"/>
        <a:ext cx="7576158" cy="372930"/>
      </dsp:txXfrm>
    </dsp:sp>
    <dsp:sp modelId="{D18666BA-1933-4BFC-AB2A-0E67C6FB4186}">
      <dsp:nvSpPr>
        <dsp:cNvPr id="0" name=""/>
        <dsp:cNvSpPr/>
      </dsp:nvSpPr>
      <dsp:spPr>
        <a:xfrm>
          <a:off x="0" y="2313710"/>
          <a:ext cx="10880726" cy="7497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Bound trees and extended stored procedure references</a:t>
          </a:r>
          <a:endParaRPr lang="en-US" sz="2000" kern="1200" dirty="0">
            <a:latin typeface="Segoe UI" panose="020B0502040204020203" pitchFamily="34" charset="0"/>
          </a:endParaRPr>
        </a:p>
      </dsp:txBody>
      <dsp:txXfrm>
        <a:off x="0" y="2313710"/>
        <a:ext cx="10880726" cy="749700"/>
      </dsp:txXfrm>
    </dsp:sp>
    <dsp:sp modelId="{AFED54AA-4D7A-4690-997F-49AEF6EF2BBD}">
      <dsp:nvSpPr>
        <dsp:cNvPr id="0" name=""/>
        <dsp:cNvSpPr/>
      </dsp:nvSpPr>
      <dsp:spPr>
        <a:xfrm>
          <a:off x="544036" y="2107070"/>
          <a:ext cx="7616508" cy="4132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Other</a:t>
          </a:r>
          <a:r>
            <a:rPr lang="en-US" sz="2600" kern="1200" baseline="0">
              <a:latin typeface="Segoe UI" panose="020B0502040204020203" pitchFamily="34" charset="0"/>
            </a:rPr>
            <a:t>:</a:t>
          </a:r>
          <a:endParaRPr lang="en-US" sz="2600" kern="1200" dirty="0">
            <a:latin typeface="Segoe UI" panose="020B0502040204020203" pitchFamily="34" charset="0"/>
          </a:endParaRPr>
        </a:p>
      </dsp:txBody>
      <dsp:txXfrm>
        <a:off x="564211" y="2127245"/>
        <a:ext cx="7576158" cy="372930"/>
      </dsp:txXfrm>
    </dsp:sp>
    <dsp:sp modelId="{B73394BE-3239-4A6A-B5AC-00960220130D}">
      <dsp:nvSpPr>
        <dsp:cNvPr id="0" name=""/>
        <dsp:cNvSpPr/>
      </dsp:nvSpPr>
      <dsp:spPr>
        <a:xfrm>
          <a:off x="0" y="3345650"/>
          <a:ext cx="10880726" cy="7497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Execution plans are per-statement (not object).</a:t>
          </a:r>
          <a:endParaRPr lang="en-US" sz="2000" kern="1200" dirty="0">
            <a:latin typeface="Segoe UI" panose="020B0502040204020203" pitchFamily="34" charset="0"/>
          </a:endParaRPr>
        </a:p>
      </dsp:txBody>
      <dsp:txXfrm>
        <a:off x="0" y="3345650"/>
        <a:ext cx="10880726" cy="749700"/>
      </dsp:txXfrm>
    </dsp:sp>
    <dsp:sp modelId="{1F9CB28E-4CAF-45D5-9922-A45FEE2C1401}">
      <dsp:nvSpPr>
        <dsp:cNvPr id="0" name=""/>
        <dsp:cNvSpPr/>
      </dsp:nvSpPr>
      <dsp:spPr>
        <a:xfrm>
          <a:off x="544036" y="3139010"/>
          <a:ext cx="7616508" cy="41328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Granularity:</a:t>
          </a:r>
          <a:endParaRPr lang="en-US" sz="2600" kern="1200" dirty="0">
            <a:latin typeface="Segoe UI" panose="020B0502040204020203" pitchFamily="34" charset="0"/>
          </a:endParaRPr>
        </a:p>
      </dsp:txBody>
      <dsp:txXfrm>
        <a:off x="564211" y="3159185"/>
        <a:ext cx="7576158" cy="372930"/>
      </dsp:txXfrm>
    </dsp:sp>
    <dsp:sp modelId="{95161727-5838-4C95-86F3-28152C04D85D}">
      <dsp:nvSpPr>
        <dsp:cNvPr id="0" name=""/>
        <dsp:cNvSpPr/>
      </dsp:nvSpPr>
      <dsp:spPr>
        <a:xfrm>
          <a:off x="0" y="4377590"/>
          <a:ext cx="10880726" cy="10584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Multiple plans for a single statement may exist if differing execution contexts were used or if a parallel plan was generated.</a:t>
          </a:r>
          <a:endParaRPr lang="en-US" sz="2000" kern="1200" dirty="0">
            <a:latin typeface="Segoe UI" panose="020B0502040204020203" pitchFamily="34" charset="0"/>
          </a:endParaRPr>
        </a:p>
      </dsp:txBody>
      <dsp:txXfrm>
        <a:off x="0" y="4377590"/>
        <a:ext cx="10880726" cy="1058400"/>
      </dsp:txXfrm>
    </dsp:sp>
    <dsp:sp modelId="{4827BB34-0E86-4436-87DA-6059537C33EB}">
      <dsp:nvSpPr>
        <dsp:cNvPr id="0" name=""/>
        <dsp:cNvSpPr/>
      </dsp:nvSpPr>
      <dsp:spPr>
        <a:xfrm>
          <a:off x="544036" y="4170950"/>
          <a:ext cx="7616508" cy="4132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Plans per Statement:</a:t>
          </a:r>
          <a:endParaRPr lang="en-US" sz="2600" kern="1200" dirty="0">
            <a:latin typeface="Segoe UI" panose="020B0502040204020203" pitchFamily="34" charset="0"/>
          </a:endParaRPr>
        </a:p>
      </dsp:txBody>
      <dsp:txXfrm>
        <a:off x="564211" y="4191125"/>
        <a:ext cx="7576158" cy="37293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6140"/>
          <a:ext cx="10880725"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f upgrading from SQL Server 2012 to 2019. Which report should figure prominently in your upgrade plans?</a:t>
          </a:r>
        </a:p>
      </dsp:txBody>
      <dsp:txXfrm>
        <a:off x="44378" y="60518"/>
        <a:ext cx="10791969" cy="820333"/>
      </dsp:txXfrm>
    </dsp:sp>
    <dsp:sp modelId="{54FE124D-C180-4875-9FE1-0D9AA94AA38B}">
      <dsp:nvSpPr>
        <dsp:cNvPr id="0" name=""/>
        <dsp:cNvSpPr/>
      </dsp:nvSpPr>
      <dsp:spPr>
        <a:xfrm>
          <a:off x="0" y="985710"/>
          <a:ext cx="10880725" cy="909089"/>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 a report’s bar chart what does each bar represent?</a:t>
          </a:r>
        </a:p>
      </dsp:txBody>
      <dsp:txXfrm>
        <a:off x="44378" y="1030088"/>
        <a:ext cx="10791969" cy="820333"/>
      </dsp:txXfrm>
    </dsp:sp>
    <dsp:sp modelId="{682F4D3A-F129-4AD8-A07B-7F06F695F982}">
      <dsp:nvSpPr>
        <dsp:cNvPr id="0" name=""/>
        <dsp:cNvSpPr/>
      </dsp:nvSpPr>
      <dsp:spPr>
        <a:xfrm>
          <a:off x="0" y="1955279"/>
          <a:ext cx="10880725" cy="909089"/>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 Which report can help troubleshoot a parameter sniffing issue?</a:t>
          </a:r>
        </a:p>
      </dsp:txBody>
      <dsp:txXfrm>
        <a:off x="44378" y="1999657"/>
        <a:ext cx="10791969" cy="820333"/>
      </dsp:txXfrm>
    </dsp:sp>
    <dsp:sp modelId="{CFAAB923-0A67-45D9-BB26-5D5037C1BD28}">
      <dsp:nvSpPr>
        <dsp:cNvPr id="0" name=""/>
        <dsp:cNvSpPr/>
      </dsp:nvSpPr>
      <dsp:spPr>
        <a:xfrm>
          <a:off x="0" y="2924849"/>
          <a:ext cx="10880725" cy="909089"/>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Querying the wait statistics DMV it returns high PAGEIOLATCH waits. Which report can help identify queries with high IO wait times? </a:t>
          </a:r>
        </a:p>
      </dsp:txBody>
      <dsp:txXfrm>
        <a:off x="44378" y="2969227"/>
        <a:ext cx="10791969" cy="820333"/>
      </dsp:txXfrm>
    </dsp:sp>
    <dsp:sp modelId="{FB500A59-BA24-48C3-956B-D338A64B25A5}">
      <dsp:nvSpPr>
        <dsp:cNvPr id="0" name=""/>
        <dsp:cNvSpPr/>
      </dsp:nvSpPr>
      <dsp:spPr>
        <a:xfrm>
          <a:off x="0" y="3894420"/>
          <a:ext cx="10880725" cy="90908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omeone has dropped an index needed by a forced plan. What happens the next time the query executes?  What happens if the index is recreated?</a:t>
          </a:r>
        </a:p>
      </dsp:txBody>
      <dsp:txXfrm>
        <a:off x="44378" y="3938798"/>
        <a:ext cx="10791969" cy="820333"/>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19270F-602D-4E71-A25D-9E7371082AA0}">
      <dsp:nvSpPr>
        <dsp:cNvPr id="0" name=""/>
        <dsp:cNvSpPr/>
      </dsp:nvSpPr>
      <dsp:spPr>
        <a:xfrm>
          <a:off x="0" y="588"/>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49A655-52C5-4CF7-BB3C-25297FBA263C}">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D1BCA7F-B15E-4010-A026-CEC091634249}">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a:t>Adaptive Query Processing (2017)</a:t>
          </a:r>
        </a:p>
      </dsp:txBody>
      <dsp:txXfrm>
        <a:off x="1590096" y="588"/>
        <a:ext cx="9290629" cy="1376706"/>
      </dsp:txXfrm>
    </dsp:sp>
    <dsp:sp modelId="{098E2AA6-0642-4D63-B364-2AFF9CB1FFC6}">
      <dsp:nvSpPr>
        <dsp:cNvPr id="0" name=""/>
        <dsp:cNvSpPr/>
      </dsp:nvSpPr>
      <dsp:spPr>
        <a:xfrm>
          <a:off x="0" y="1721471"/>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7B081C-35B3-413F-A2D9-8E6378AD9C49}">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F84DBA8-8605-4878-AAA5-90953141E1A7}">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a:t>Intelligent Query Processing (2019)</a:t>
          </a:r>
        </a:p>
      </dsp:txBody>
      <dsp:txXfrm>
        <a:off x="1590096" y="1721471"/>
        <a:ext cx="9290629" cy="1376706"/>
      </dsp:txXfrm>
    </dsp:sp>
    <dsp:sp modelId="{E514E16A-E2B6-4326-A906-DEF82027DFAE}">
      <dsp:nvSpPr>
        <dsp:cNvPr id="0" name=""/>
        <dsp:cNvSpPr/>
      </dsp:nvSpPr>
      <dsp:spPr>
        <a:xfrm>
          <a:off x="0" y="3442354"/>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07F6A4-A399-45D6-B4A4-8F274413FA9A}">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B4B628-7A6C-4977-9F15-5A8F24006128}">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dirty="0"/>
            <a:t>New Features of IQP (2022)</a:t>
          </a:r>
        </a:p>
      </dsp:txBody>
      <dsp:txXfrm>
        <a:off x="1590096" y="3442354"/>
        <a:ext cx="9290629" cy="137670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E87806-462D-4021-B716-BF30F5397896}">
      <dsp:nvSpPr>
        <dsp:cNvPr id="0" name=""/>
        <dsp:cNvSpPr/>
      </dsp:nvSpPr>
      <dsp:spPr>
        <a:xfrm>
          <a:off x="6194975" y="0"/>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6225383" y="30408"/>
        <a:ext cx="1496478" cy="977380"/>
      </dsp:txXfrm>
    </dsp:sp>
    <dsp:sp modelId="{C113824A-7555-4C87-B2BE-96501C624C75}">
      <dsp:nvSpPr>
        <dsp:cNvPr id="0" name=""/>
        <dsp:cNvSpPr/>
      </dsp:nvSpPr>
      <dsp:spPr>
        <a:xfrm>
          <a:off x="2924657" y="1038196"/>
          <a:ext cx="4048965" cy="415278"/>
        </a:xfrm>
        <a:custGeom>
          <a:avLst/>
          <a:gdLst/>
          <a:ahLst/>
          <a:cxnLst/>
          <a:rect l="0" t="0" r="0" b="0"/>
          <a:pathLst>
            <a:path>
              <a:moveTo>
                <a:pt x="4048965" y="0"/>
              </a:moveTo>
              <a:lnTo>
                <a:pt x="4048965"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2DE11F-DF23-4919-B7BD-27DB31DE2417}">
      <dsp:nvSpPr>
        <dsp:cNvPr id="0" name=""/>
        <dsp:cNvSpPr/>
      </dsp:nvSpPr>
      <dsp:spPr>
        <a:xfrm>
          <a:off x="2146009" y="1453474"/>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a:t>
          </a:r>
          <a:r>
            <a:rPr lang="en-US" sz="1800" kern="1200"/>
            <a:t> Query Processing</a:t>
          </a:r>
          <a:endParaRPr lang="en-US" sz="1800" kern="1200" dirty="0"/>
        </a:p>
      </dsp:txBody>
      <dsp:txXfrm>
        <a:off x="2176417" y="1483882"/>
        <a:ext cx="1496478" cy="977380"/>
      </dsp:txXfrm>
    </dsp:sp>
    <dsp:sp modelId="{4115379B-A779-422E-A95E-5CC6ACAD24AA}">
      <dsp:nvSpPr>
        <dsp:cNvPr id="0" name=""/>
        <dsp:cNvSpPr/>
      </dsp:nvSpPr>
      <dsp:spPr>
        <a:xfrm>
          <a:off x="900174" y="2491670"/>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1096D5-40FF-4B10-8A2F-3BFE55DC37C4}">
      <dsp:nvSpPr>
        <dsp:cNvPr id="0" name=""/>
        <dsp:cNvSpPr/>
      </dsp:nvSpPr>
      <dsp:spPr>
        <a:xfrm>
          <a:off x="121527"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sp:txBody>
      <dsp:txXfrm>
        <a:off x="151935" y="2937357"/>
        <a:ext cx="1496478" cy="977380"/>
      </dsp:txXfrm>
    </dsp:sp>
    <dsp:sp modelId="{D1F2B48B-0A17-4BA4-BB35-4F83AF68E8C0}">
      <dsp:nvSpPr>
        <dsp:cNvPr id="0" name=""/>
        <dsp:cNvSpPr/>
      </dsp:nvSpPr>
      <dsp:spPr>
        <a:xfrm>
          <a:off x="287893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EBEBC5-9607-4B49-82F6-220A5A82DCA3}">
      <dsp:nvSpPr>
        <dsp:cNvPr id="0" name=""/>
        <dsp:cNvSpPr/>
      </dsp:nvSpPr>
      <dsp:spPr>
        <a:xfrm>
          <a:off x="2146009" y="2906949"/>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rleaved Execution</a:t>
          </a:r>
        </a:p>
      </dsp:txBody>
      <dsp:txXfrm>
        <a:off x="2176417" y="2937357"/>
        <a:ext cx="1496478" cy="977380"/>
      </dsp:txXfrm>
    </dsp:sp>
    <dsp:sp modelId="{97D1A4A4-C0EF-44EB-9149-CF3BC8359F9D}">
      <dsp:nvSpPr>
        <dsp:cNvPr id="0" name=""/>
        <dsp:cNvSpPr/>
      </dsp:nvSpPr>
      <dsp:spPr>
        <a:xfrm>
          <a:off x="2924657" y="2491670"/>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3CAE10-57CD-44C7-A6F5-8B3093CB8B4D}">
      <dsp:nvSpPr>
        <dsp:cNvPr id="0" name=""/>
        <dsp:cNvSpPr/>
      </dsp:nvSpPr>
      <dsp:spPr>
        <a:xfrm>
          <a:off x="4170492"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emory Grant Feedback</a:t>
          </a:r>
        </a:p>
      </dsp:txBody>
      <dsp:txXfrm>
        <a:off x="4200900" y="2937357"/>
        <a:ext cx="1496478" cy="977380"/>
      </dsp:txXfrm>
    </dsp:sp>
    <dsp:sp modelId="{655625AB-1A89-405F-AA45-2F7986065705}">
      <dsp:nvSpPr>
        <dsp:cNvPr id="0" name=""/>
        <dsp:cNvSpPr/>
      </dsp:nvSpPr>
      <dsp:spPr>
        <a:xfrm>
          <a:off x="3936898" y="3945145"/>
          <a:ext cx="1012241" cy="415278"/>
        </a:xfrm>
        <a:custGeom>
          <a:avLst/>
          <a:gdLst/>
          <a:ahLst/>
          <a:cxnLst/>
          <a:rect l="0" t="0" r="0" b="0"/>
          <a:pathLst>
            <a:path>
              <a:moveTo>
                <a:pt x="1012241" y="0"/>
              </a:moveTo>
              <a:lnTo>
                <a:pt x="1012241" y="207639"/>
              </a:lnTo>
              <a:lnTo>
                <a:pt x="0" y="207639"/>
              </a:lnTo>
              <a:lnTo>
                <a:pt x="0"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A9A297-F1DB-4AC2-A226-3911EBB63085}">
      <dsp:nvSpPr>
        <dsp:cNvPr id="0" name=""/>
        <dsp:cNvSpPr/>
      </dsp:nvSpPr>
      <dsp:spPr>
        <a:xfrm>
          <a:off x="3158251" y="4360424"/>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a:t>
          </a:r>
        </a:p>
      </dsp:txBody>
      <dsp:txXfrm>
        <a:off x="3188659" y="4390832"/>
        <a:ext cx="1496478" cy="977380"/>
      </dsp:txXfrm>
    </dsp:sp>
    <dsp:sp modelId="{DD7723A2-260C-4955-B459-56D3F5ABEA3B}">
      <dsp:nvSpPr>
        <dsp:cNvPr id="0" name=""/>
        <dsp:cNvSpPr/>
      </dsp:nvSpPr>
      <dsp:spPr>
        <a:xfrm>
          <a:off x="4949139" y="3945145"/>
          <a:ext cx="1012241" cy="415278"/>
        </a:xfrm>
        <a:custGeom>
          <a:avLst/>
          <a:gdLst/>
          <a:ahLst/>
          <a:cxnLst/>
          <a:rect l="0" t="0" r="0" b="0"/>
          <a:pathLst>
            <a:path>
              <a:moveTo>
                <a:pt x="0" y="0"/>
              </a:moveTo>
              <a:lnTo>
                <a:pt x="0" y="207639"/>
              </a:lnTo>
              <a:lnTo>
                <a:pt x="1012241" y="207639"/>
              </a:lnTo>
              <a:lnTo>
                <a:pt x="1012241"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80A589-182F-4742-80CF-A33672F8C4E6}">
      <dsp:nvSpPr>
        <dsp:cNvPr id="0" name=""/>
        <dsp:cNvSpPr/>
      </dsp:nvSpPr>
      <dsp:spPr>
        <a:xfrm>
          <a:off x="5182733" y="4360424"/>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ow Mode</a:t>
          </a:r>
        </a:p>
      </dsp:txBody>
      <dsp:txXfrm>
        <a:off x="5213141" y="4390832"/>
        <a:ext cx="1496478" cy="977380"/>
      </dsp:txXfrm>
    </dsp:sp>
    <dsp:sp modelId="{938EAEDA-47DA-48E8-862A-99782042FB38}">
      <dsp:nvSpPr>
        <dsp:cNvPr id="0" name=""/>
        <dsp:cNvSpPr/>
      </dsp:nvSpPr>
      <dsp:spPr>
        <a:xfrm>
          <a:off x="4949139" y="1038196"/>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F1563B-4F2E-40CA-B265-9087B388CBDB}">
      <dsp:nvSpPr>
        <dsp:cNvPr id="0" name=""/>
        <dsp:cNvSpPr/>
      </dsp:nvSpPr>
      <dsp:spPr>
        <a:xfrm>
          <a:off x="4170492"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4200900" y="1483882"/>
        <a:ext cx="1496478" cy="977380"/>
      </dsp:txXfrm>
    </dsp:sp>
    <dsp:sp modelId="{A20BD15A-FC61-455A-A3A7-7D3D2257CA05}">
      <dsp:nvSpPr>
        <dsp:cNvPr id="0" name=""/>
        <dsp:cNvSpPr/>
      </dsp:nvSpPr>
      <dsp:spPr>
        <a:xfrm>
          <a:off x="6927902" y="1038196"/>
          <a:ext cx="91440" cy="415278"/>
        </a:xfrm>
        <a:custGeom>
          <a:avLst/>
          <a:gdLst/>
          <a:ahLst/>
          <a:cxnLst/>
          <a:rect l="0" t="0" r="0" b="0"/>
          <a:pathLst>
            <a:path>
              <a:moveTo>
                <a:pt x="45720" y="0"/>
              </a:moveTo>
              <a:lnTo>
                <a:pt x="4572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B25B66-598F-4D54-8C9F-7AFDDFC6B1ED}">
      <dsp:nvSpPr>
        <dsp:cNvPr id="0" name=""/>
        <dsp:cNvSpPr/>
      </dsp:nvSpPr>
      <dsp:spPr>
        <a:xfrm>
          <a:off x="6194975"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6225383" y="1483882"/>
        <a:ext cx="1496478" cy="977380"/>
      </dsp:txXfrm>
    </dsp:sp>
    <dsp:sp modelId="{A5BF4C9F-9F6E-44C2-BF74-4AA3CF8B6EA3}">
      <dsp:nvSpPr>
        <dsp:cNvPr id="0" name=""/>
        <dsp:cNvSpPr/>
      </dsp:nvSpPr>
      <dsp:spPr>
        <a:xfrm>
          <a:off x="6973622" y="1038196"/>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C6A647-2E75-4952-9A97-22DE6DC72A3B}">
      <dsp:nvSpPr>
        <dsp:cNvPr id="0" name=""/>
        <dsp:cNvSpPr/>
      </dsp:nvSpPr>
      <dsp:spPr>
        <a:xfrm>
          <a:off x="8219457"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8249865" y="1483882"/>
        <a:ext cx="1496478" cy="977380"/>
      </dsp:txXfrm>
    </dsp:sp>
    <dsp:sp modelId="{D1190639-E1D7-45CC-B7E2-C916949E7C08}">
      <dsp:nvSpPr>
        <dsp:cNvPr id="0" name=""/>
        <dsp:cNvSpPr/>
      </dsp:nvSpPr>
      <dsp:spPr>
        <a:xfrm>
          <a:off x="6973622" y="1038196"/>
          <a:ext cx="4048965" cy="415278"/>
        </a:xfrm>
        <a:custGeom>
          <a:avLst/>
          <a:gdLst/>
          <a:ahLst/>
          <a:cxnLst/>
          <a:rect l="0" t="0" r="0" b="0"/>
          <a:pathLst>
            <a:path>
              <a:moveTo>
                <a:pt x="0" y="0"/>
              </a:moveTo>
              <a:lnTo>
                <a:pt x="0" y="207639"/>
              </a:lnTo>
              <a:lnTo>
                <a:pt x="4048965" y="207639"/>
              </a:lnTo>
              <a:lnTo>
                <a:pt x="4048965"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9C66CB-3F6B-42EC-9113-3D4FFCF79B08}">
      <dsp:nvSpPr>
        <dsp:cNvPr id="0" name=""/>
        <dsp:cNvSpPr/>
      </dsp:nvSpPr>
      <dsp:spPr>
        <a:xfrm>
          <a:off x="10243940"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10274348" y="1483882"/>
        <a:ext cx="1496478" cy="977380"/>
      </dsp:txXfrm>
    </dsp:sp>
    <dsp:sp modelId="{DAD2A4AA-A5CA-4842-8067-1769180E32DF}">
      <dsp:nvSpPr>
        <dsp:cNvPr id="0" name=""/>
        <dsp:cNvSpPr/>
      </dsp:nvSpPr>
      <dsp:spPr>
        <a:xfrm>
          <a:off x="1097686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E984F1-A788-43FF-B773-6DF3B701FABB}">
      <dsp:nvSpPr>
        <dsp:cNvPr id="0" name=""/>
        <dsp:cNvSpPr/>
      </dsp:nvSpPr>
      <dsp:spPr>
        <a:xfrm>
          <a:off x="10243940" y="2906949"/>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10274348" y="2937357"/>
        <a:ext cx="1496478" cy="97738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E8114-12F3-469E-A27B-D86B1C6D839A}">
      <dsp:nvSpPr>
        <dsp:cNvPr id="0" name=""/>
        <dsp:cNvSpPr/>
      </dsp:nvSpPr>
      <dsp:spPr>
        <a:xfrm>
          <a:off x="4352290" y="1540"/>
          <a:ext cx="6528435" cy="1222139"/>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dirty="0"/>
            <a:t>Plan type, size and handle</a:t>
          </a:r>
        </a:p>
      </dsp:txBody>
      <dsp:txXfrm>
        <a:off x="4352290" y="154307"/>
        <a:ext cx="6070133" cy="916605"/>
      </dsp:txXfrm>
    </dsp:sp>
    <dsp:sp modelId="{54391A25-D2D9-4355-B400-2D7370C7C8CE}">
      <dsp:nvSpPr>
        <dsp:cNvPr id="0" name=""/>
        <dsp:cNvSpPr/>
      </dsp:nvSpPr>
      <dsp:spPr>
        <a:xfrm>
          <a:off x="0" y="1540"/>
          <a:ext cx="4352290" cy="122213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cached_plans</a:t>
          </a:r>
          <a:endParaRPr lang="en-US" sz="2400" kern="1200" dirty="0"/>
        </a:p>
      </dsp:txBody>
      <dsp:txXfrm>
        <a:off x="59660" y="61200"/>
        <a:ext cx="4232970" cy="1102819"/>
      </dsp:txXfrm>
    </dsp:sp>
    <dsp:sp modelId="{DD3870A4-BF67-43F5-BD9C-EFCAFD36AF9C}">
      <dsp:nvSpPr>
        <dsp:cNvPr id="0" name=""/>
        <dsp:cNvSpPr/>
      </dsp:nvSpPr>
      <dsp:spPr>
        <a:xfrm>
          <a:off x="4352290" y="1345893"/>
          <a:ext cx="6528435" cy="1222139"/>
        </a:xfrm>
        <a:prstGeom prst="rightArrow">
          <a:avLst>
            <a:gd name="adj1" fmla="val 75000"/>
            <a:gd name="adj2" fmla="val 50000"/>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Execution metrics for individual statements</a:t>
          </a:r>
          <a:endParaRPr lang="en-US" sz="2700" kern="1200" dirty="0"/>
        </a:p>
      </dsp:txBody>
      <dsp:txXfrm>
        <a:off x="4352290" y="1498660"/>
        <a:ext cx="6070133" cy="916605"/>
      </dsp:txXfrm>
    </dsp:sp>
    <dsp:sp modelId="{77C55A6C-86CD-46F6-A7BC-CD989BF29AD3}">
      <dsp:nvSpPr>
        <dsp:cNvPr id="0" name=""/>
        <dsp:cNvSpPr/>
      </dsp:nvSpPr>
      <dsp:spPr>
        <a:xfrm>
          <a:off x="0" y="1345893"/>
          <a:ext cx="4352290" cy="122213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stats</a:t>
          </a:r>
          <a:endParaRPr lang="en-US" sz="2400" kern="1200" dirty="0"/>
        </a:p>
      </dsp:txBody>
      <dsp:txXfrm>
        <a:off x="59660" y="1405553"/>
        <a:ext cx="4232970" cy="1102819"/>
      </dsp:txXfrm>
    </dsp:sp>
    <dsp:sp modelId="{1DC62910-F5B0-4E12-AD2C-26B51B70F214}">
      <dsp:nvSpPr>
        <dsp:cNvPr id="0" name=""/>
        <dsp:cNvSpPr/>
      </dsp:nvSpPr>
      <dsp:spPr>
        <a:xfrm>
          <a:off x="4352290" y="2690246"/>
          <a:ext cx="6528435" cy="1222139"/>
        </a:xfrm>
        <a:prstGeom prst="rightArrow">
          <a:avLst>
            <a:gd name="adj1" fmla="val 75000"/>
            <a:gd name="adj2" fmla="val 50000"/>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Takes a plan_handle and returns the associated XML plan </a:t>
          </a:r>
          <a:endParaRPr lang="en-US" sz="2700" kern="1200" dirty="0"/>
        </a:p>
      </dsp:txBody>
      <dsp:txXfrm>
        <a:off x="4352290" y="2843013"/>
        <a:ext cx="6070133" cy="916605"/>
      </dsp:txXfrm>
    </dsp:sp>
    <dsp:sp modelId="{688B86EE-D10B-46C7-84F8-8C0C61F717C8}">
      <dsp:nvSpPr>
        <dsp:cNvPr id="0" name=""/>
        <dsp:cNvSpPr/>
      </dsp:nvSpPr>
      <dsp:spPr>
        <a:xfrm>
          <a:off x="0" y="2690246"/>
          <a:ext cx="4352290" cy="122213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plan()</a:t>
          </a:r>
          <a:endParaRPr lang="en-US" sz="2400" kern="1200" dirty="0"/>
        </a:p>
      </dsp:txBody>
      <dsp:txXfrm>
        <a:off x="59660" y="2749906"/>
        <a:ext cx="4232970" cy="1102819"/>
      </dsp:txXfrm>
    </dsp:sp>
    <dsp:sp modelId="{B61DEA13-FD87-4FB8-AB97-821EA9B9B040}">
      <dsp:nvSpPr>
        <dsp:cNvPr id="0" name=""/>
        <dsp:cNvSpPr/>
      </dsp:nvSpPr>
      <dsp:spPr>
        <a:xfrm>
          <a:off x="4352290" y="4034599"/>
          <a:ext cx="6528435" cy="1222139"/>
        </a:xfrm>
        <a:prstGeom prst="rightArrow">
          <a:avLst>
            <a:gd name="adj1" fmla="val 75000"/>
            <a:gd name="adj2" fmla="val 5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Takes a plan_handle or sql_handle and returns the associated SQL batch</a:t>
          </a:r>
          <a:endParaRPr lang="en-US" sz="2700" kern="1200" dirty="0"/>
        </a:p>
      </dsp:txBody>
      <dsp:txXfrm>
        <a:off x="4352290" y="4187366"/>
        <a:ext cx="6070133" cy="916605"/>
      </dsp:txXfrm>
    </dsp:sp>
    <dsp:sp modelId="{19D55732-39F8-4659-9F37-B937D64447A3}">
      <dsp:nvSpPr>
        <dsp:cNvPr id="0" name=""/>
        <dsp:cNvSpPr/>
      </dsp:nvSpPr>
      <dsp:spPr>
        <a:xfrm>
          <a:off x="0" y="4034599"/>
          <a:ext cx="4352290" cy="122213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sql_text()</a:t>
          </a:r>
          <a:endParaRPr lang="en-US" sz="2400" kern="1200" dirty="0"/>
        </a:p>
      </dsp:txBody>
      <dsp:txXfrm>
        <a:off x="59660" y="4094259"/>
        <a:ext cx="4232970" cy="11028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FD43F-B116-44D8-A634-5BFAE6E1AA90}">
      <dsp:nvSpPr>
        <dsp:cNvPr id="0" name=""/>
        <dsp:cNvSpPr/>
      </dsp:nvSpPr>
      <dsp:spPr>
        <a:xfrm>
          <a:off x="0" y="35984"/>
          <a:ext cx="5284787"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Execution count</a:t>
          </a:r>
          <a:endParaRPr lang="en-US" sz="2100" kern="1200" dirty="0"/>
        </a:p>
      </dsp:txBody>
      <dsp:txXfrm>
        <a:off x="26387" y="62371"/>
        <a:ext cx="5232013" cy="487766"/>
      </dsp:txXfrm>
    </dsp:sp>
    <dsp:sp modelId="{2188DE46-950A-44E0-A8B0-CD8EFEA6C151}">
      <dsp:nvSpPr>
        <dsp:cNvPr id="0" name=""/>
        <dsp:cNvSpPr/>
      </dsp:nvSpPr>
      <dsp:spPr>
        <a:xfrm>
          <a:off x="0" y="637004"/>
          <a:ext cx="5284787" cy="540540"/>
        </a:xfrm>
        <a:prstGeom prst="roundRect">
          <a:avLst/>
        </a:prstGeom>
        <a:solidFill>
          <a:schemeClr val="accent2">
            <a:hueOff val="-381071"/>
            <a:satOff val="7912"/>
            <a:lumOff val="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Worker time</a:t>
          </a:r>
        </a:p>
      </dsp:txBody>
      <dsp:txXfrm>
        <a:off x="26387" y="663391"/>
        <a:ext cx="5232013" cy="487766"/>
      </dsp:txXfrm>
    </dsp:sp>
    <dsp:sp modelId="{00AC3774-2F5B-41F4-9613-FD78AB0A3D33}">
      <dsp:nvSpPr>
        <dsp:cNvPr id="0" name=""/>
        <dsp:cNvSpPr/>
      </dsp:nvSpPr>
      <dsp:spPr>
        <a:xfrm>
          <a:off x="0" y="1238024"/>
          <a:ext cx="5284787" cy="540540"/>
        </a:xfrm>
        <a:prstGeom prst="roundRect">
          <a:avLst/>
        </a:prstGeom>
        <a:solidFill>
          <a:schemeClr val="accent2">
            <a:hueOff val="-762142"/>
            <a:satOff val="15823"/>
            <a:lumOff val="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Physical read</a:t>
          </a:r>
          <a:endParaRPr lang="en-US" sz="2100" kern="1200" dirty="0"/>
        </a:p>
      </dsp:txBody>
      <dsp:txXfrm>
        <a:off x="26387" y="1264411"/>
        <a:ext cx="5232013" cy="487766"/>
      </dsp:txXfrm>
    </dsp:sp>
    <dsp:sp modelId="{ADB81461-1BAD-42E8-8951-7926DFB44DB9}">
      <dsp:nvSpPr>
        <dsp:cNvPr id="0" name=""/>
        <dsp:cNvSpPr/>
      </dsp:nvSpPr>
      <dsp:spPr>
        <a:xfrm>
          <a:off x="0" y="1839044"/>
          <a:ext cx="5284787" cy="540540"/>
        </a:xfrm>
        <a:prstGeom prst="roundRect">
          <a:avLst/>
        </a:prstGeom>
        <a:solidFill>
          <a:schemeClr val="accent2">
            <a:hueOff val="-1143213"/>
            <a:satOff val="23735"/>
            <a:lumOff val="2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gical reads</a:t>
          </a:r>
          <a:endParaRPr lang="en-US" sz="2100" kern="1200" dirty="0"/>
        </a:p>
      </dsp:txBody>
      <dsp:txXfrm>
        <a:off x="26387" y="1865431"/>
        <a:ext cx="5232013" cy="487766"/>
      </dsp:txXfrm>
    </dsp:sp>
    <dsp:sp modelId="{AC47D6B1-4844-4DF3-A3BB-850F4BBCC674}">
      <dsp:nvSpPr>
        <dsp:cNvPr id="0" name=""/>
        <dsp:cNvSpPr/>
      </dsp:nvSpPr>
      <dsp:spPr>
        <a:xfrm>
          <a:off x="0" y="2440064"/>
          <a:ext cx="5284787" cy="540540"/>
        </a:xfrm>
        <a:prstGeom prst="roundRect">
          <a:avLst/>
        </a:prstGeom>
        <a:solidFill>
          <a:schemeClr val="accent2">
            <a:hueOff val="-1524284"/>
            <a:satOff val="31647"/>
            <a:lumOff val="3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lapsed time</a:t>
          </a:r>
        </a:p>
      </dsp:txBody>
      <dsp:txXfrm>
        <a:off x="26387" y="2466451"/>
        <a:ext cx="5232013" cy="487766"/>
      </dsp:txXfrm>
    </dsp:sp>
    <dsp:sp modelId="{A4B8DADE-7CBD-4991-BE41-E0572C3734D1}">
      <dsp:nvSpPr>
        <dsp:cNvPr id="0" name=""/>
        <dsp:cNvSpPr/>
      </dsp:nvSpPr>
      <dsp:spPr>
        <a:xfrm>
          <a:off x="0" y="3041084"/>
          <a:ext cx="5284787" cy="540540"/>
        </a:xfrm>
        <a:prstGeom prst="roundRect">
          <a:avLst/>
        </a:prstGeom>
        <a:solidFill>
          <a:schemeClr val="accent2">
            <a:hueOff val="-1905355"/>
            <a:satOff val="39559"/>
            <a:lumOff val="4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Row count</a:t>
          </a:r>
        </a:p>
      </dsp:txBody>
      <dsp:txXfrm>
        <a:off x="26387" y="3067471"/>
        <a:ext cx="5232013" cy="487766"/>
      </dsp:txXfrm>
    </dsp:sp>
    <dsp:sp modelId="{18BBA3A3-5B22-4686-A138-349B603E9E3D}">
      <dsp:nvSpPr>
        <dsp:cNvPr id="0" name=""/>
        <dsp:cNvSpPr/>
      </dsp:nvSpPr>
      <dsp:spPr>
        <a:xfrm>
          <a:off x="0" y="3642105"/>
          <a:ext cx="5284787" cy="540540"/>
        </a:xfrm>
        <a:prstGeom prst="roundRect">
          <a:avLst/>
        </a:prstGeom>
        <a:solidFill>
          <a:schemeClr val="accent2">
            <a:hueOff val="-2286426"/>
            <a:satOff val="47470"/>
            <a:lumOff val="5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Memory consumption</a:t>
          </a:r>
          <a:endParaRPr lang="en-US" sz="2100" kern="1200" dirty="0"/>
        </a:p>
      </dsp:txBody>
      <dsp:txXfrm>
        <a:off x="26387" y="3668492"/>
        <a:ext cx="5232013" cy="487766"/>
      </dsp:txXfrm>
    </dsp:sp>
    <dsp:sp modelId="{F2C617A2-4343-4A54-A451-84BA96676C27}">
      <dsp:nvSpPr>
        <dsp:cNvPr id="0" name=""/>
        <dsp:cNvSpPr/>
      </dsp:nvSpPr>
      <dsp:spPr>
        <a:xfrm>
          <a:off x="0" y="4243125"/>
          <a:ext cx="5284787" cy="5405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lls</a:t>
          </a:r>
        </a:p>
      </dsp:txBody>
      <dsp:txXfrm>
        <a:off x="26387" y="4269512"/>
        <a:ext cx="5232013" cy="4877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58F0B-3705-4BDE-875B-8462A329C789}">
      <dsp:nvSpPr>
        <dsp:cNvPr id="0" name=""/>
        <dsp:cNvSpPr/>
      </dsp:nvSpPr>
      <dsp:spPr>
        <a:xfrm rot="5400000">
          <a:off x="1665793" y="718693"/>
          <a:ext cx="3855720" cy="3382262"/>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Total</a:t>
          </a:r>
          <a:endParaRPr lang="en-US" sz="2400" kern="1200" dirty="0"/>
        </a:p>
        <a:p>
          <a:pPr marL="228600" lvl="1" indent="-228600" algn="l" defTabSz="1066800">
            <a:lnSpc>
              <a:spcPct val="90000"/>
            </a:lnSpc>
            <a:spcBef>
              <a:spcPct val="0"/>
            </a:spcBef>
            <a:spcAft>
              <a:spcPct val="15000"/>
            </a:spcAft>
            <a:buChar char="•"/>
          </a:pPr>
          <a:r>
            <a:rPr lang="en-US" sz="2400" kern="1200" baseline="0" dirty="0"/>
            <a:t>Last</a:t>
          </a:r>
          <a:endParaRPr lang="en-US" sz="2400" kern="1200" dirty="0"/>
        </a:p>
        <a:p>
          <a:pPr marL="228600" lvl="1" indent="-228600" algn="l" defTabSz="1066800">
            <a:lnSpc>
              <a:spcPct val="90000"/>
            </a:lnSpc>
            <a:spcBef>
              <a:spcPct val="0"/>
            </a:spcBef>
            <a:spcAft>
              <a:spcPct val="15000"/>
            </a:spcAft>
            <a:buChar char="•"/>
          </a:pPr>
          <a:r>
            <a:rPr lang="en-US" sz="2400" kern="1200" baseline="0" dirty="0"/>
            <a:t>Min</a:t>
          </a:r>
          <a:endParaRPr lang="en-US" sz="2400" kern="1200" dirty="0"/>
        </a:p>
        <a:p>
          <a:pPr marL="228600" lvl="1" indent="-228600" algn="l" defTabSz="1066800">
            <a:lnSpc>
              <a:spcPct val="90000"/>
            </a:lnSpc>
            <a:spcBef>
              <a:spcPct val="0"/>
            </a:spcBef>
            <a:spcAft>
              <a:spcPct val="15000"/>
            </a:spcAft>
            <a:buChar char="•"/>
          </a:pPr>
          <a:r>
            <a:rPr lang="en-US" sz="2400" kern="1200" baseline="0" dirty="0"/>
            <a:t>Max</a:t>
          </a:r>
          <a:endParaRPr lang="en-US" sz="2400" kern="1200" dirty="0"/>
        </a:p>
      </dsp:txBody>
      <dsp:txXfrm rot="-5400000">
        <a:off x="1902522" y="647072"/>
        <a:ext cx="3217154" cy="3525504"/>
      </dsp:txXfrm>
    </dsp:sp>
    <dsp:sp modelId="{086FF4FD-422F-4991-98D0-CD9E311A2A35}">
      <dsp:nvSpPr>
        <dsp:cNvPr id="0" name=""/>
        <dsp:cNvSpPr/>
      </dsp:nvSpPr>
      <dsp:spPr>
        <a:xfrm>
          <a:off x="0" y="0"/>
          <a:ext cx="1902522"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ggregate statistics</a:t>
          </a:r>
          <a:endParaRPr lang="en-US" sz="2400" kern="1200" dirty="0"/>
        </a:p>
      </dsp:txBody>
      <dsp:txXfrm>
        <a:off x="92873" y="92873"/>
        <a:ext cx="1716776" cy="463390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2B8F45-C21C-453B-84D9-C5CD6AD7B4FC}">
      <dsp:nvSpPr>
        <dsp:cNvPr id="0" name=""/>
        <dsp:cNvSpPr/>
      </dsp:nvSpPr>
      <dsp:spPr>
        <a:xfrm>
          <a:off x="0" y="295174"/>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Heavy </a:t>
          </a:r>
          <a:r>
            <a:rPr lang="en-US" sz="2400" i="1" kern="1200" baseline="0" dirty="0"/>
            <a:t>ad hoc </a:t>
          </a:r>
          <a:r>
            <a:rPr lang="en-US" sz="2400" kern="1200" baseline="0" dirty="0"/>
            <a:t>workloads can bloat the plan cache</a:t>
          </a:r>
          <a:endParaRPr lang="en-US" sz="2400" kern="1200" dirty="0"/>
        </a:p>
      </dsp:txBody>
      <dsp:txXfrm>
        <a:off x="0" y="295174"/>
        <a:ext cx="3400226" cy="2040136"/>
      </dsp:txXfrm>
    </dsp:sp>
    <dsp:sp modelId="{7A872729-72F1-46CB-B009-3FB6861B61FC}">
      <dsp:nvSpPr>
        <dsp:cNvPr id="0" name=""/>
        <dsp:cNvSpPr/>
      </dsp:nvSpPr>
      <dsp:spPr>
        <a:xfrm>
          <a:off x="3740249" y="295174"/>
          <a:ext cx="3400226" cy="2040136"/>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No benefit to caching single-use, ad hoc plans</a:t>
          </a:r>
          <a:endParaRPr lang="en-US" sz="2400" kern="1200" dirty="0"/>
        </a:p>
      </dsp:txBody>
      <dsp:txXfrm>
        <a:off x="3740249" y="295174"/>
        <a:ext cx="3400226" cy="2040136"/>
      </dsp:txXfrm>
    </dsp:sp>
    <dsp:sp modelId="{41967A24-5AD9-4D95-94BC-C765092BFE0F}">
      <dsp:nvSpPr>
        <dsp:cNvPr id="0" name=""/>
        <dsp:cNvSpPr/>
      </dsp:nvSpPr>
      <dsp:spPr>
        <a:xfrm>
          <a:off x="7480499" y="295174"/>
          <a:ext cx="3400226" cy="2040136"/>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nable “optimize for ad hoc workload” to keep single-use plans out of the cache</a:t>
          </a:r>
          <a:endParaRPr lang="en-US" sz="2400" kern="1200" dirty="0"/>
        </a:p>
      </dsp:txBody>
      <dsp:txXfrm>
        <a:off x="7480499" y="295174"/>
        <a:ext cx="3400226" cy="20401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PROC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he entire plan cache – all databases</a:t>
          </a:r>
          <a:endParaRPr lang="en-US" sz="24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of a specific type</a:t>
          </a:r>
          <a:endParaRPr lang="en-US" sz="24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for a single database</a:t>
          </a:r>
          <a:endParaRPr lang="en-US" sz="24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 specific plan</a:t>
          </a:r>
          <a:endParaRPr lang="en-US" sz="2400" kern="1200" dirty="0"/>
        </a:p>
      </dsp:txBody>
      <dsp:txXfrm>
        <a:off x="49715" y="3259861"/>
        <a:ext cx="3817631" cy="91899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 DATABASE </a:t>
          </a:r>
          <a:r>
            <a:rPr lang="en-US" sz="2100" kern="1200" baseline="0" dirty="0"/>
            <a:t>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The entire plan cache – all databases</a:t>
          </a:r>
          <a:endParaRPr lang="en-US" sz="26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of a specific type</a:t>
          </a:r>
          <a:endParaRPr lang="en-US" sz="26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for a single database</a:t>
          </a:r>
          <a:endParaRPr lang="en-US" sz="26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 &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 specific plan</a:t>
          </a:r>
          <a:endParaRPr lang="en-US" sz="2600" kern="1200" dirty="0"/>
        </a:p>
      </dsp:txBody>
      <dsp:txXfrm>
        <a:off x="49715" y="3259861"/>
        <a:ext cx="3817631" cy="91899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344A51-086C-4132-8DCA-8D11584234C5}">
      <dsp:nvSpPr>
        <dsp:cNvPr id="0" name=""/>
        <dsp:cNvSpPr/>
      </dsp:nvSpPr>
      <dsp:spPr>
        <a:xfrm rot="5400000">
          <a:off x="7019236" y="-3005822"/>
          <a:ext cx="759314"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u="sng" kern="1200" baseline="0" dirty="0"/>
            <a:t>Any</a:t>
          </a:r>
          <a:r>
            <a:rPr lang="en-US" sz="1800" kern="1200" baseline="0" dirty="0"/>
            <a:t> difference in casing, white space or literal values will affect a hashed value</a:t>
          </a:r>
          <a:endParaRPr lang="en-US" sz="1800" kern="1200" dirty="0"/>
        </a:p>
      </dsp:txBody>
      <dsp:txXfrm rot="-5400000">
        <a:off x="3917062" y="133419"/>
        <a:ext cx="6926597" cy="685180"/>
      </dsp:txXfrm>
    </dsp:sp>
    <dsp:sp modelId="{921C66B1-F72E-469E-A1A5-766BFD69EE6E}">
      <dsp:nvSpPr>
        <dsp:cNvPr id="0" name=""/>
        <dsp:cNvSpPr/>
      </dsp:nvSpPr>
      <dsp:spPr>
        <a:xfrm>
          <a:off x="0" y="1438"/>
          <a:ext cx="3917061" cy="9491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Requires that SQL statements match exactly</a:t>
          </a:r>
          <a:endParaRPr lang="en-US" sz="2500" kern="1200" dirty="0"/>
        </a:p>
      </dsp:txBody>
      <dsp:txXfrm>
        <a:off x="46333" y="47771"/>
        <a:ext cx="3824395" cy="856476"/>
      </dsp:txXfrm>
    </dsp:sp>
    <dsp:sp modelId="{FDA009E2-0319-432B-9F31-DFFAAEDD8B20}">
      <dsp:nvSpPr>
        <dsp:cNvPr id="0" name=""/>
        <dsp:cNvSpPr/>
      </dsp:nvSpPr>
      <dsp:spPr>
        <a:xfrm rot="5400000">
          <a:off x="7019236" y="-2009222"/>
          <a:ext cx="759314" cy="6963664"/>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imple (on by default) or Forced Parameterization can improve reuse</a:t>
          </a:r>
          <a:endParaRPr lang="en-US" sz="1800" kern="1200" dirty="0"/>
        </a:p>
      </dsp:txBody>
      <dsp:txXfrm rot="-5400000">
        <a:off x="3917062" y="1130019"/>
        <a:ext cx="6926597" cy="685180"/>
      </dsp:txXfrm>
    </dsp:sp>
    <dsp:sp modelId="{39CC2B3E-3196-4D9F-86CF-8A88B8AB8052}">
      <dsp:nvSpPr>
        <dsp:cNvPr id="0" name=""/>
        <dsp:cNvSpPr/>
      </dsp:nvSpPr>
      <dsp:spPr>
        <a:xfrm>
          <a:off x="0" y="998038"/>
          <a:ext cx="3917061" cy="94914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Less likely for </a:t>
          </a:r>
          <a:r>
            <a:rPr lang="en-US" sz="2500" i="1" kern="1200" baseline="0" dirty="0"/>
            <a:t>ad hoc </a:t>
          </a:r>
          <a:r>
            <a:rPr lang="en-US" sz="2500" kern="1200" baseline="0" dirty="0"/>
            <a:t>SQL statements</a:t>
          </a:r>
          <a:endParaRPr lang="en-US" sz="2500" kern="1200" dirty="0"/>
        </a:p>
      </dsp:txBody>
      <dsp:txXfrm>
        <a:off x="46333" y="1044371"/>
        <a:ext cx="3824395" cy="856476"/>
      </dsp:txXfrm>
    </dsp:sp>
    <dsp:sp modelId="{DBDF4D6F-4375-4583-A571-22E5E09D9615}">
      <dsp:nvSpPr>
        <dsp:cNvPr id="0" name=""/>
        <dsp:cNvSpPr/>
      </dsp:nvSpPr>
      <dsp:spPr>
        <a:xfrm rot="5400000">
          <a:off x="7019236" y="-1012622"/>
          <a:ext cx="759314" cy="6963664"/>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tored procedures, Functions, Triggers</a:t>
          </a:r>
          <a:endParaRPr lang="en-US" sz="1800" kern="1200" dirty="0"/>
        </a:p>
        <a:p>
          <a:pPr marL="171450" lvl="1" indent="-171450" algn="l" defTabSz="800100">
            <a:lnSpc>
              <a:spcPct val="90000"/>
            </a:lnSpc>
            <a:spcBef>
              <a:spcPct val="0"/>
            </a:spcBef>
            <a:spcAft>
              <a:spcPct val="15000"/>
            </a:spcAft>
            <a:buChar char="•"/>
          </a:pPr>
          <a:r>
            <a:rPr lang="en-US" sz="1800" kern="1200" baseline="0" dirty="0"/>
            <a:t>Prepared statements and parameterized queries (sp_executesql)</a:t>
          </a:r>
          <a:endParaRPr lang="en-US" sz="1800" kern="1200" dirty="0"/>
        </a:p>
      </dsp:txBody>
      <dsp:txXfrm rot="-5400000">
        <a:off x="3917062" y="2126619"/>
        <a:ext cx="6926597" cy="685180"/>
      </dsp:txXfrm>
    </dsp:sp>
    <dsp:sp modelId="{CC07D088-4892-4E5C-8123-1ABF1BF7BA81}">
      <dsp:nvSpPr>
        <dsp:cNvPr id="0" name=""/>
        <dsp:cNvSpPr/>
      </dsp:nvSpPr>
      <dsp:spPr>
        <a:xfrm>
          <a:off x="0" y="1994638"/>
          <a:ext cx="3917061" cy="949142"/>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Most easily achieved using:</a:t>
          </a:r>
          <a:endParaRPr lang="en-US" sz="2500" kern="1200" dirty="0"/>
        </a:p>
      </dsp:txBody>
      <dsp:txXfrm>
        <a:off x="46333" y="2040971"/>
        <a:ext cx="3824395" cy="85647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0.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0/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view=sql-server-ver15" TargetMode="External"/><Relationship Id="rId7" Type="http://schemas.openxmlformats.org/officeDocument/2006/relationships/hyperlink" Target="https://docs.microsoft.com/en-us/sql/relational-databases/system-catalog-views/sys-query-store-query-transact-sql"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docs.microsoft.com/en-us/archive/blogs/psssql/how-simple-parameterization-works" TargetMode="External"/><Relationship Id="rId5" Type="http://schemas.openxmlformats.org/officeDocument/2006/relationships/hyperlink" Target="https://docs.microsoft.com/en-us/sql/relational-databases/query-processing-architecture-guide?view=sql-server-ver15#ForcedParam" TargetMode="External"/><Relationship Id="rId4" Type="http://schemas.openxmlformats.org/officeDocument/2006/relationships/hyperlink" Target="https://docs.microsoft.com/en-us/sql/relational-databases/query-processing-architecture-guide?view=sql-server-ver15#SimpleParam"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t-sql/queries/hints-transact-sql-query?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stored-procedures/sp-recompile-transact-sql?view=sql-server-ver15" TargetMode="External"/><Relationship Id="rId4" Type="http://schemas.openxmlformats.org/officeDocument/2006/relationships/hyperlink" Target="https://docs.microsoft.com/en-us/sql/t-sql/statements/create-procedure-transact-sql?view=sql-server-ver15"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sql/relational-databases/performance/monitoring-performance-by-using-the-query-store?view=sql-server-ver16"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learn.microsoft.com/en-us/sql/relational-databases/performance/best-practice-with-the-query-store?view=sql-server-ver16"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query-store-runtime-stats-transact-sql?view=sql-server-ver15"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learn.microsoft.com/en-us/sql/sql-server/sql-server-2022-release-notes?view=sql-server-ver16" TargetMode="External"/><Relationship Id="rId7" Type="http://schemas.openxmlformats.org/officeDocument/2006/relationships/hyperlink" Target="https://learn.microsoft.com/en-us/sql/relational-databases/performance/query-store-for-secondary-replicas?view=sql-server-ver16"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learn.microsoft.com/en-us/sql/relational-databases/performance/best-practice-with-the-query-store?view=sql-server-ver16#keep-the-most-relevant-data-in-query-store" TargetMode="External"/><Relationship Id="rId5" Type="http://schemas.openxmlformats.org/officeDocument/2006/relationships/hyperlink" Target="https://learn.microsoft.com/en-us/sql/relational-databases/sql-server-configuration-manager?view=sql-server-ver16" TargetMode="External"/><Relationship Id="rId4" Type="http://schemas.openxmlformats.org/officeDocument/2006/relationships/hyperlink" Target="https://learn.microsoft.com/en-us/sql/t-sql/database-console-commands/dbcc-traceon-trace-flags-transact-sql?view=sql-server-ver16" TargetMode="Externa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s://learn.microsoft.com/en-us/sql/t-sql/queries/hints-transact-sql-table?view=sql-server-ver16" TargetMode="External"/><Relationship Id="rId3" Type="http://schemas.openxmlformats.org/officeDocument/2006/relationships/hyperlink" Target="https://learn.microsoft.com/en-us/sql/relational-databases/performance/monitoring-performance-by-using-the-query-store?view=sql-server-ver16" TargetMode="External"/><Relationship Id="rId7" Type="http://schemas.openxmlformats.org/officeDocument/2006/relationships/hyperlink" Target="https://learn.microsoft.com/en-us/sql/relational-databases/system-stored-procedures/sp-query-store-force-plan-transact-sql?view=sql-server-ver16"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learn.microsoft.com/en-us/sql/t-sql/queries/hints-transact-sql-query?view=sql-server-ver16" TargetMode="External"/><Relationship Id="rId5" Type="http://schemas.openxmlformats.org/officeDocument/2006/relationships/hyperlink" Target="https://learn.microsoft.com/en-us/sql/relational-databases/performance/query-store-hints?view=sql-server-ver16" TargetMode="External"/><Relationship Id="rId4" Type="http://schemas.openxmlformats.org/officeDocument/2006/relationships/hyperlink" Target="https://learn.microsoft.com/en-us/sql/relational-databases/databases/view-or-change-the-compatibility-level-of-a-database?view=sql-server-ver16"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learn.microsoft.com/en-us/sql/relational-databases/system-catalog-views/query-store-catalog-views-transact-sql?view=sql-server-ver16" TargetMode="External"/><Relationship Id="rId2" Type="http://schemas.openxmlformats.org/officeDocument/2006/relationships/slide" Target="../slides/slide50.xml"/><Relationship Id="rId1" Type="http://schemas.openxmlformats.org/officeDocument/2006/relationships/notesMaster" Target="../notesMasters/notesMaster1.xml"/><Relationship Id="rId5" Type="http://schemas.openxmlformats.org/officeDocument/2006/relationships/hyperlink" Target="https://learn.microsoft.com/en-us/sql/relational-databases/system-catalog-views/sys-query-store-query-hints-transact-sql?view=sql-server-ver16" TargetMode="External"/><Relationship Id="rId4" Type="http://schemas.openxmlformats.org/officeDocument/2006/relationships/hyperlink" Target="https://learn.microsoft.com/en-us/sql/relational-databases/system-stored-procedures/sys-sp-query-store-set-hints-transact-sql?view=sql-server-ver16"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learn.microsoft.com/en-us/sql/relational-databases/performance/optimized-plan-forcing-query-store?view=sql-server-ver16"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cached-plans-transact-sql?view=sql-server-ver15" TargetMode="External"/><Relationship Id="rId7" Type="http://schemas.openxmlformats.org/officeDocument/2006/relationships/hyperlink" Target="https://docs.microsoft.com/en-us/sql/relational-databases/system-dynamic-management-views/sys-dm-exec-sql-text-transact-sql?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exec-query-plan-transact-sql?view=sql-server-ver15" TargetMode="External"/><Relationship Id="rId5" Type="http://schemas.openxmlformats.org/officeDocument/2006/relationships/hyperlink" Target="https://docs.microsoft.com/en-us/sql/relational-databases/system-dynamic-management-views/sys-dm-exec-procedure-stats-transact-sql?view=sql-server-ver15" TargetMode="External"/><Relationship Id="rId4" Type="http://schemas.openxmlformats.org/officeDocument/2006/relationships/hyperlink" Target="https://docs.microsoft.com/en-us/sql/relational-databases/system-dynamic-management-views/sys-dm-exec-query-stats-transact-sql?view=sql-server-ver1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query-stats-transact-sql?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database-engine/configure-windows/optimize-for-ad-hoc-workloads-server-configuration-option?view=sql-server-ver15"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0F5A79-03C7-4F04-B936-1D8348BF7B8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161302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290232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SAMPLE CODE:</a:t>
            </a:r>
          </a:p>
          <a:p>
            <a:r>
              <a:rPr lang="en-US" sz="882" b="1" i="0" kern="1200" baseline="0" dirty="0">
                <a:solidFill>
                  <a:schemeClr val="tx1"/>
                </a:solidFill>
                <a:effectLst/>
                <a:latin typeface="+mn-lt"/>
                <a:ea typeface="+mn-ea"/>
                <a:cs typeface="+mn-cs"/>
              </a:rPr>
              <a:t>-- for 1 QUERY</a:t>
            </a:r>
            <a:br>
              <a:rPr lang="en-US" sz="882" b="1" i="0" kern="1200" baseline="0" dirty="0">
                <a:solidFill>
                  <a:schemeClr val="tx1"/>
                </a:solidFill>
                <a:effectLst/>
                <a:latin typeface="+mn-lt"/>
                <a:ea typeface="+mn-ea"/>
                <a:cs typeface="+mn-cs"/>
              </a:rPr>
            </a:br>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ALTER DATABASE SCOPED CONFIGURATION </a:t>
            </a:r>
          </a:p>
          <a:p>
            <a:r>
              <a:rPr lang="en-US" sz="882" kern="1200" baseline="0" dirty="0">
                <a:solidFill>
                  <a:schemeClr val="tx1"/>
                </a:solidFill>
                <a:latin typeface="+mn-lt"/>
                <a:ea typeface="+mn-ea"/>
                <a:cs typeface="+mn-cs"/>
              </a:rPr>
              <a:t>CLEAR PROCEDURE_CACHE 0x060008005341261C208A0310A101000001000000000000000000000000000000000000000000000000000000;</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DBCC FREEPROCCACHE   (0x060008005341261C208A0310A101000001000000000000000000000000000000000000000000000000000000);</a:t>
            </a:r>
          </a:p>
          <a:p>
            <a:r>
              <a:rPr lang="en-US" sz="882" kern="1200" baseline="0" dirty="0">
                <a:solidFill>
                  <a:schemeClr val="tx1"/>
                </a:solidFill>
                <a:latin typeface="+mn-lt"/>
                <a:ea typeface="+mn-ea"/>
                <a:cs typeface="+mn-cs"/>
              </a:rPr>
              <a:t>GO</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 for all queries for the database:</a:t>
            </a:r>
          </a:p>
          <a:p>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addressId = 2;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StateProvinceID=79;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all plans for database</a:t>
            </a:r>
          </a:p>
          <a:p>
            <a:r>
              <a:rPr lang="en-US" sz="882" kern="1200" baseline="0" dirty="0">
                <a:solidFill>
                  <a:schemeClr val="tx1"/>
                </a:solidFill>
                <a:latin typeface="+mn-lt"/>
                <a:ea typeface="+mn-ea"/>
                <a:cs typeface="+mn-cs"/>
              </a:rPr>
              <a:t>ALTER DATABASE SCOPED CONFIGURATION CLEAR PROCEDURE_CACH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519692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ALTER DATABASE SET PARAMETERIZATION { </a:t>
            </a:r>
            <a:r>
              <a:rPr lang="en-US" sz="882" b="1" i="0" kern="1200" baseline="0" dirty="0">
                <a:solidFill>
                  <a:schemeClr val="tx1"/>
                </a:solidFill>
                <a:effectLst/>
                <a:latin typeface="+mn-lt"/>
                <a:ea typeface="+mn-ea"/>
                <a:cs typeface="+mn-cs"/>
              </a:rPr>
              <a:t>SIMPLE</a:t>
            </a:r>
            <a:r>
              <a:rPr lang="en-US" sz="882" b="0" i="0" kern="1200" baseline="0" dirty="0">
                <a:solidFill>
                  <a:schemeClr val="tx1"/>
                </a:solidFill>
                <a:effectLst/>
                <a:latin typeface="+mn-lt"/>
                <a:ea typeface="+mn-ea"/>
                <a:cs typeface="+mn-cs"/>
              </a:rPr>
              <a:t> | FORCED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docs.microsoft.com/en-us/sql/t-sql/statements/alter-database-transact-sql-set-options?view=sql-server-ver15</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Simple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query-processing-architecture-guide?view=sql-server-ver15#SimpleParam</a:t>
            </a: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ced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5"/>
              </a:rPr>
              <a:t>https://docs.microsoft.com/en-us/sql/relational-databases/query-processing-architecture-guide?view=sql-server-ver15#ForcedParam</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How Simple Parameterization works</a:t>
            </a:r>
          </a:p>
          <a:p>
            <a:r>
              <a:rPr lang="en-US" dirty="0">
                <a:hlinkClick r:id="rId6"/>
              </a:rPr>
              <a:t>https://docs.microsoft.com/en-us/archive/blogs/psssql/how-simple-parameterization-works</a:t>
            </a:r>
            <a:endParaRPr lang="en-US" dirty="0"/>
          </a:p>
          <a:p>
            <a:endParaRPr lang="en-US" dirty="0"/>
          </a:p>
          <a:p>
            <a:pPr fontAlgn="base"/>
            <a:r>
              <a:rPr lang="en-US" sz="882" b="0" i="0" kern="1200" baseline="0" dirty="0">
                <a:solidFill>
                  <a:schemeClr val="tx1"/>
                </a:solidFill>
                <a:effectLst/>
                <a:latin typeface="+mn-lt"/>
                <a:ea typeface="+mn-ea"/>
                <a:cs typeface="+mn-cs"/>
              </a:rPr>
              <a:t>Simple parameterization is enabled by default.  Check the StatementParameterizationType attribute value in an </a:t>
            </a:r>
            <a:r>
              <a:rPr lang="en-US" sz="882" b="1" i="0" kern="1200" baseline="0" dirty="0">
                <a:solidFill>
                  <a:schemeClr val="tx1"/>
                </a:solidFill>
                <a:effectLst/>
                <a:latin typeface="+mn-lt"/>
                <a:ea typeface="+mn-ea"/>
                <a:cs typeface="+mn-cs"/>
              </a:rPr>
              <a:t>actual</a:t>
            </a:r>
            <a:r>
              <a:rPr lang="en-US" sz="882" b="0" i="0" kern="1200" baseline="0" dirty="0">
                <a:solidFill>
                  <a:schemeClr val="tx1"/>
                </a:solidFill>
                <a:effectLst/>
                <a:latin typeface="+mn-lt"/>
                <a:ea typeface="+mn-ea"/>
                <a:cs typeface="+mn-cs"/>
              </a:rPr>
              <a:t> execution plan to see whether parameterization applied.  The values are documented in </a:t>
            </a:r>
            <a:r>
              <a:rPr lang="en-US" sz="882" b="0" i="0" u="sng" kern="1200" baseline="0" dirty="0">
                <a:solidFill>
                  <a:schemeClr val="tx1"/>
                </a:solidFill>
                <a:effectLst/>
                <a:latin typeface="+mn-lt"/>
                <a:ea typeface="+mn-ea"/>
                <a:cs typeface="+mn-cs"/>
                <a:hlinkClick r:id="rId7"/>
              </a:rPr>
              <a:t>sys.query_store_query</a:t>
            </a:r>
            <a:r>
              <a:rPr lang="en-US" sz="882" b="0" i="0" kern="1200" baseline="0" dirty="0">
                <a:solidFill>
                  <a:schemeClr val="tx1"/>
                </a:solidFill>
                <a:effectLst/>
                <a:latin typeface="+mn-lt"/>
                <a:ea typeface="+mn-ea"/>
                <a:cs typeface="+mn-cs"/>
              </a:rPr>
              <a:t>:</a:t>
            </a:r>
          </a:p>
          <a:p>
            <a:pPr lvl="1" fontAlgn="base"/>
            <a:r>
              <a:rPr lang="en-US" sz="882" b="0" i="0" kern="1200" baseline="0" dirty="0">
                <a:solidFill>
                  <a:schemeClr val="tx1"/>
                </a:solidFill>
                <a:effectLst/>
                <a:latin typeface="+mn-lt"/>
                <a:ea typeface="+mn-ea"/>
                <a:cs typeface="+mn-cs"/>
              </a:rPr>
              <a:t>0 = None</a:t>
            </a:r>
          </a:p>
          <a:p>
            <a:pPr lvl="1" fontAlgn="base"/>
            <a:r>
              <a:rPr lang="en-US" sz="882" b="0" i="0" kern="1200" baseline="0" dirty="0">
                <a:solidFill>
                  <a:schemeClr val="tx1"/>
                </a:solidFill>
                <a:effectLst/>
                <a:latin typeface="+mn-lt"/>
                <a:ea typeface="+mn-ea"/>
                <a:cs typeface="+mn-cs"/>
              </a:rPr>
              <a:t>1 = User</a:t>
            </a:r>
          </a:p>
          <a:p>
            <a:pPr lvl="1" fontAlgn="base"/>
            <a:r>
              <a:rPr lang="en-US" sz="882" b="0" i="0" kern="1200" baseline="0" dirty="0">
                <a:solidFill>
                  <a:schemeClr val="tx1"/>
                </a:solidFill>
                <a:effectLst/>
                <a:latin typeface="+mn-lt"/>
                <a:ea typeface="+mn-ea"/>
                <a:cs typeface="+mn-cs"/>
              </a:rPr>
              <a:t>2 = Simple</a:t>
            </a:r>
          </a:p>
          <a:p>
            <a:pPr lvl="1" fontAlgn="base"/>
            <a:r>
              <a:rPr lang="en-US" sz="882" b="0" i="0" kern="1200" baseline="0" dirty="0">
                <a:solidFill>
                  <a:schemeClr val="tx1"/>
                </a:solidFill>
                <a:effectLst/>
                <a:latin typeface="+mn-lt"/>
                <a:ea typeface="+mn-ea"/>
                <a:cs typeface="+mn-cs"/>
              </a:rPr>
              <a:t>3 = Forced</a:t>
            </a:r>
          </a:p>
          <a:p>
            <a:endParaRPr lang="en-US" dirty="0"/>
          </a:p>
          <a:p>
            <a:endParaRPr lang="en-US" dirty="0"/>
          </a:p>
          <a:p>
            <a:r>
              <a:rPr lang="en-US" dirty="0"/>
              <a:t>Note the use (and value of) UNION ALL compared to UNION (which has an implicit DISTINC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3029720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t-sql/queries/hints-transact-sql-query?view=sql-server-ver15</a:t>
            </a:r>
            <a:endParaRPr lang="en-US" dirty="0"/>
          </a:p>
          <a:p>
            <a:r>
              <a:rPr lang="en-US" sz="882" b="0" i="0" kern="1200" baseline="0" dirty="0">
                <a:solidFill>
                  <a:schemeClr val="tx1"/>
                </a:solidFill>
                <a:effectLst/>
                <a:latin typeface="+mn-lt"/>
                <a:ea typeface="+mn-ea"/>
                <a:cs typeface="+mn-cs"/>
              </a:rPr>
              <a:t>OPTION(RECOMPILE) query hint</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nstructs the SQL Server Database Engine to generate a new, temporary plan for the query and immediately discard that plan after the query completes execution. The generated query plan doesn't replace a plan stored in cache when the same query runs without the RECOMPILE hint. Without specifying RECOMPILE, the Database Engine caches query plans and reuses them. When compiling query plans, the RECOMPILE query hint uses the current values of any local variables in the query. If the query is inside a stored procedure, the current values passed to any parameters.</a:t>
            </a:r>
          </a:p>
          <a:p>
            <a:endParaRPr lang="en-US" dirty="0"/>
          </a:p>
          <a:p>
            <a:r>
              <a:rPr lang="en-US" dirty="0">
                <a:hlinkClick r:id="rId4"/>
              </a:rPr>
              <a:t>https://docs.microsoft.com/en-us/sql/t-sql/statements/create-procedure-transact-sql?view=sql-server-ver15</a:t>
            </a:r>
            <a:endParaRPr lang="en-US" dirty="0"/>
          </a:p>
          <a:p>
            <a:r>
              <a:rPr lang="en-US" sz="882" b="0" i="0" kern="1200" baseline="0" dirty="0">
                <a:solidFill>
                  <a:schemeClr val="tx1"/>
                </a:solidFill>
                <a:effectLst/>
                <a:latin typeface="+mn-lt"/>
                <a:ea typeface="+mn-ea"/>
                <a:cs typeface="+mn-cs"/>
              </a:rPr>
              <a:t>CREATE PROC dbo.MyProc WITH RECOMPILE</a:t>
            </a:r>
            <a:br>
              <a:rPr lang="en-US" dirty="0"/>
            </a:br>
            <a:r>
              <a:rPr lang="en-US" sz="882" b="0" i="0" kern="1200" baseline="0" dirty="0">
                <a:solidFill>
                  <a:schemeClr val="tx1"/>
                </a:solidFill>
                <a:effectLst/>
                <a:latin typeface="+mn-lt"/>
                <a:ea typeface="+mn-ea"/>
                <a:cs typeface="+mn-cs"/>
              </a:rPr>
              <a:t>Indicates that the Database Engine does not cache a query plan for this procedure, forcing it to be compiled (all statements) each time it is executed. </a:t>
            </a:r>
          </a:p>
          <a:p>
            <a:r>
              <a:rPr lang="en-US" sz="882" b="0" i="0" kern="1200" baseline="0" dirty="0">
                <a:solidFill>
                  <a:schemeClr val="tx1"/>
                </a:solidFill>
                <a:effectLst/>
                <a:latin typeface="+mn-lt"/>
                <a:ea typeface="+mn-ea"/>
                <a:cs typeface="+mn-cs"/>
              </a:rPr>
              <a:t>Use of the statement-level OPTION (RECOMPILE) hint is preferred.</a:t>
            </a:r>
            <a:endParaRPr lang="en-US" dirty="0"/>
          </a:p>
          <a:p>
            <a:endParaRPr lang="en-US" dirty="0"/>
          </a:p>
          <a:p>
            <a:r>
              <a:rPr lang="en-US" dirty="0"/>
              <a:t>sp_recompile</a:t>
            </a:r>
          </a:p>
          <a:p>
            <a:r>
              <a:rPr lang="en-US" dirty="0">
                <a:hlinkClick r:id="rId5"/>
              </a:rPr>
              <a:t>https://docs.microsoft.com/en-us/sql/relational-databases/system-stored-procedures/sp-recompile-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012218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arameterized batch or stored procedure is compiled for the first time, the values of the parameters supplied with the execution call are used to optimize the statements. This process is known as parameter sniffing. If these values are typical, then most calls to that stored procedure will benefit from an efficient query plan.</a:t>
            </a:r>
          </a:p>
          <a:p>
            <a:endParaRPr lang="en-US" dirty="0"/>
          </a:p>
          <a:p>
            <a:pPr marL="173028" lvl="1" indent="0">
              <a:buNone/>
            </a:pPr>
            <a:r>
              <a:rPr lang="en-US" dirty="0">
                <a:latin typeface="Consolas" panose="020B0609020204030204" pitchFamily="49" charset="0"/>
                <a:cs typeface="Consolas" panose="020B0609020204030204" pitchFamily="49" charset="0"/>
              </a:rPr>
              <a:t>CREATE PROCEDURE testProc @p1 int = null</a:t>
            </a:r>
          </a:p>
          <a:p>
            <a:pPr marL="173028" lvl="1" indent="0">
              <a:buNone/>
            </a:pPr>
            <a:r>
              <a:rPr lang="en-US" dirty="0">
                <a:latin typeface="Consolas" panose="020B0609020204030204" pitchFamily="49" charset="0"/>
                <a:cs typeface="Consolas" panose="020B0609020204030204" pitchFamily="49" charset="0"/>
              </a:rPr>
              <a:t>AS</a:t>
            </a:r>
          </a:p>
          <a:p>
            <a:pPr marL="173028" lvl="1" indent="0">
              <a:buNone/>
            </a:pPr>
            <a:r>
              <a:rPr lang="en-US" dirty="0">
                <a:latin typeface="Consolas" panose="020B0609020204030204" pitchFamily="49" charset="0"/>
                <a:cs typeface="Consolas" panose="020B0609020204030204" pitchFamily="49" charset="0"/>
              </a:rPr>
              <a:t>BEGIN</a:t>
            </a:r>
          </a:p>
          <a:p>
            <a:pPr marL="173028" lvl="1" indent="0">
              <a:buNone/>
            </a:pPr>
            <a:r>
              <a:rPr lang="en-US" dirty="0">
                <a:latin typeface="Consolas" panose="020B0609020204030204" pitchFamily="49" charset="0"/>
                <a:cs typeface="Consolas" panose="020B0609020204030204" pitchFamily="49" charset="0"/>
              </a:rPr>
              <a:t>  If @p1 IS NULL</a:t>
            </a:r>
          </a:p>
          <a:p>
            <a:pPr marL="173028" lvl="1" indent="0">
              <a:buNone/>
            </a:pPr>
            <a:r>
              <a:rPr lang="en-US" dirty="0">
                <a:latin typeface="Consolas" panose="020B0609020204030204" pitchFamily="49" charset="0"/>
                <a:cs typeface="Consolas" panose="020B0609020204030204" pitchFamily="49" charset="0"/>
              </a:rPr>
              <a:t>    Begin</a:t>
            </a:r>
          </a:p>
          <a:p>
            <a:pPr marL="173028" lvl="1" indent="0">
              <a:buNone/>
            </a:pPr>
            <a:r>
              <a:rPr lang="en-US" dirty="0">
                <a:latin typeface="Consolas" panose="020B0609020204030204" pitchFamily="49" charset="0"/>
                <a:cs typeface="Consolas" panose="020B0609020204030204" pitchFamily="49" charset="0"/>
              </a:rPr>
              <a:t>      Select @p1 = 9999</a:t>
            </a:r>
          </a:p>
          <a:p>
            <a:pPr marL="173028" lvl="1" indent="0">
              <a:buNone/>
            </a:pPr>
            <a:r>
              <a:rPr lang="en-US" dirty="0">
                <a:latin typeface="Consolas" panose="020B0609020204030204" pitchFamily="49" charset="0"/>
                <a:cs typeface="Consolas" panose="020B0609020204030204" pitchFamily="49" charset="0"/>
              </a:rPr>
              <a:t>    End</a:t>
            </a:r>
          </a:p>
          <a:p>
            <a:pPr marL="173028" lvl="1" indent="0">
              <a:buNone/>
            </a:pPr>
            <a:r>
              <a:rPr lang="en-US" dirty="0">
                <a:latin typeface="Consolas" panose="020B0609020204030204" pitchFamily="49" charset="0"/>
                <a:cs typeface="Consolas" panose="020B0609020204030204" pitchFamily="49" charset="0"/>
              </a:rPr>
              <a:t>  SELECT * </a:t>
            </a:r>
          </a:p>
          <a:p>
            <a:pPr marL="173028" lvl="1" indent="0">
              <a:buNone/>
            </a:pPr>
            <a:r>
              <a:rPr lang="en-US" dirty="0">
                <a:latin typeface="Consolas" panose="020B0609020204030204" pitchFamily="49" charset="0"/>
                <a:cs typeface="Consolas" panose="020B0609020204030204" pitchFamily="49" charset="0"/>
              </a:rPr>
              <a:t>  FROM sales.target</a:t>
            </a:r>
          </a:p>
          <a:p>
            <a:pPr marL="173028" lvl="1" indent="0">
              <a:buNone/>
            </a:pPr>
            <a:r>
              <a:rPr lang="en-US" dirty="0">
                <a:latin typeface="Consolas" panose="020B0609020204030204" pitchFamily="49" charset="0"/>
                <a:cs typeface="Consolas" panose="020B0609020204030204" pitchFamily="49" charset="0"/>
              </a:rPr>
              <a:t>  WHERE amount = @p1</a:t>
            </a:r>
          </a:p>
          <a:p>
            <a:pPr marL="173028" lvl="1" indent="0">
              <a:buNone/>
            </a:pPr>
            <a:r>
              <a:rPr lang="en-US" dirty="0">
                <a:latin typeface="Consolas" panose="020B0609020204030204" pitchFamily="49" charset="0"/>
                <a:cs typeface="Consolas" panose="020B0609020204030204" pitchFamily="49" charset="0"/>
              </a:rPr>
              <a:t>END</a:t>
            </a:r>
          </a:p>
          <a:p>
            <a:endParaRPr lang="en-US" dirty="0"/>
          </a:p>
          <a:p>
            <a:pPr lvl="0"/>
            <a:r>
              <a:rPr lang="en-US" dirty="0"/>
              <a:t>Issues generally arise in two scenarios:</a:t>
            </a:r>
          </a:p>
          <a:p>
            <a:pPr lvl="1"/>
            <a:r>
              <a:rPr lang="en-US" dirty="0"/>
              <a:t>The sniffed parameter value is not typical of the values that are actually used during a typical execution.</a:t>
            </a:r>
          </a:p>
          <a:p>
            <a:pPr lvl="1"/>
            <a:r>
              <a:rPr lang="en-US" dirty="0"/>
              <a:t>The parameter is changed within a stored procedure before it is used in a query-parameterized queries will behave in a similar manner to batches that have been explicitly parameterized. That is, if the first execution of a query uses an atypical value when it is compiled, similar queries that share the execution plan through simple or forced parameterization may have inaccurate cardinality estimates.</a:t>
            </a:r>
          </a:p>
          <a:p>
            <a:endParaRPr lang="en-US" dirty="0"/>
          </a:p>
        </p:txBody>
      </p:sp>
      <p:sp>
        <p:nvSpPr>
          <p:cNvPr id="4" name="Rectangular Callout 3"/>
          <p:cNvSpPr/>
          <p:nvPr/>
        </p:nvSpPr>
        <p:spPr>
          <a:xfrm>
            <a:off x="-3505200" y="5029200"/>
            <a:ext cx="3276600" cy="16764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Repeat of previous page</a:t>
            </a:r>
            <a:endParaRPr lang="en-US" dirty="0"/>
          </a:p>
        </p:txBody>
      </p:sp>
    </p:spTree>
    <p:extLst>
      <p:ext uri="{BB962C8B-B14F-4D97-AF65-F5344CB8AC3E}">
        <p14:creationId xmlns:p14="http://schemas.microsoft.com/office/powerpoint/2010/main" val="1056779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0/2024</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r>
              <a:rPr lang="en-US" sz="1800" b="0" dirty="0"/>
              <a:t>E:\Demos\08_Plan_Cache_Query_Store</a:t>
            </a:r>
            <a:r>
              <a:rPr lang="en-US" sz="800" i="1" noProof="0" dirty="0">
                <a:solidFill>
                  <a:prstClr val="black"/>
                </a:solidFill>
                <a:latin typeface="Segoe UI Light" pitchFamily="34" charset="0"/>
              </a:rPr>
              <a:t>\</a:t>
            </a:r>
            <a:r>
              <a:rPr lang="en-US" sz="850" i="1" noProof="1">
                <a:cs typeface="Segoe UI"/>
              </a:rPr>
              <a:t>Demo1_adhoc_vs_proc_plans.sql</a:t>
            </a:r>
            <a:endParaRPr lang="en-US" sz="850" i="1" dirty="0">
              <a:cs typeface="Segoe UI"/>
            </a:endParaRPr>
          </a:p>
          <a:p>
            <a:pPr defTabSz="914460">
              <a:defRPr/>
            </a:pPr>
            <a:endParaRPr lang="en-US" sz="850" noProof="1">
              <a:cs typeface="Segoe UI"/>
            </a:endParaRPr>
          </a:p>
          <a:p>
            <a:pPr defTabSz="914460">
              <a:defRPr/>
            </a:pPr>
            <a:r>
              <a:rPr lang="en-US" sz="900" b="0" dirty="0"/>
              <a:t>E:\Demos\08_Plan_Cache_Query_Store</a:t>
            </a:r>
            <a:r>
              <a:rPr lang="en-US" sz="100" i="1" noProof="0" dirty="0">
                <a:solidFill>
                  <a:prstClr val="black"/>
                </a:solidFill>
                <a:latin typeface="Segoe UI Light" pitchFamily="34" charset="0"/>
              </a:rPr>
              <a:t>\</a:t>
            </a:r>
            <a:r>
              <a:rPr lang="en-US" sz="850" i="1" noProof="1">
                <a:cs typeface="Segoe UI"/>
              </a:rPr>
              <a:t>Demo2_parameter_sniffing.sql</a:t>
            </a:r>
            <a:endParaRPr lang="en-US" sz="850" i="1" dirty="0">
              <a:cs typeface="Segoe UI"/>
            </a:endParaRPr>
          </a:p>
          <a:p>
            <a:pPr defTabSz="914460">
              <a:spcAft>
                <a:spcPts val="333"/>
              </a:spcAft>
              <a:defRPr/>
            </a:pPr>
            <a:endParaRPr lang="en-US" sz="850" noProof="1"/>
          </a:p>
          <a:p>
            <a:pPr defTabSz="914460">
              <a:spcAft>
                <a:spcPts val="333"/>
              </a:spcAft>
              <a:defRPr/>
            </a:pPr>
            <a:r>
              <a:rPr lang="en-US" sz="900" b="0" dirty="0"/>
              <a:t>E:\Demos\08_Plan_Cache_Query_Store</a:t>
            </a:r>
            <a:r>
              <a:rPr lang="en-US" sz="100" i="1" noProof="0" dirty="0">
                <a:solidFill>
                  <a:prstClr val="black"/>
                </a:solidFill>
                <a:latin typeface="Segoe UI Light" pitchFamily="34" charset="0"/>
              </a:rPr>
              <a:t>\</a:t>
            </a:r>
            <a:r>
              <a:rPr lang="en-US" sz="900" i="1" noProof="0" dirty="0">
                <a:solidFill>
                  <a:prstClr val="black"/>
                </a:solidFill>
                <a:latin typeface="Segoe UI Light" pitchFamily="34" charset="0"/>
              </a:rPr>
              <a:t>\</a:t>
            </a:r>
            <a:r>
              <a:rPr lang="en-US" sz="850" i="1" noProof="1"/>
              <a:t>Demo3_querying_the_plan_cache_DMOs.sql</a:t>
            </a:r>
            <a:endParaRPr lang="en-US" sz="850" i="1" dirty="0">
              <a:cs typeface="Segoe UI"/>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0/2024</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1) Is the size of the plan cache fixed?</a:t>
            </a:r>
          </a:p>
          <a:p>
            <a:r>
              <a:rPr lang="en-US" dirty="0"/>
              <a:t>A1) No.  It grows on demand, within limits, and can shrink when there’s memory pressur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2) How long do query plans remain in the plan cache?</a:t>
            </a:r>
          </a:p>
          <a:p>
            <a:r>
              <a:rPr lang="en-US" dirty="0"/>
              <a:t>A2) Until memory pressure forces them out.</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3) Why is plan caching helpful?</a:t>
            </a:r>
          </a:p>
          <a:p>
            <a:r>
              <a:rPr lang="en-US" dirty="0"/>
              <a:t>A3) Plan reuse saves time and CPU since a new plan needn’t be compiled every time a statement is executed.</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4) Why are ad hoc query plans sometimes problematic?</a:t>
            </a:r>
          </a:p>
          <a:p>
            <a:r>
              <a:rPr lang="en-US" dirty="0"/>
              <a:t>A4) They are often single-use both because of their nature (users browsing data) and because small changes in SQL text impact the ability of the Optimizer to match current queries to cached plans. This can lead to filling up the plan cache with plans that will never be reused – a waste of space that may negatively impact the size of the buffer poo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5) What can be done to lessen the impact of an ad hoc workload?</a:t>
            </a:r>
          </a:p>
          <a:p>
            <a:r>
              <a:rPr lang="en-US" dirty="0"/>
              <a:t>A5) Address this by enabling the “optimize for ad hoc workload” server configuration item. This prevents full caching of plans until they’ve been used a second tim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6) What can be done to address a parameter sniffing issue?</a:t>
            </a:r>
          </a:p>
          <a:p>
            <a:r>
              <a:rPr lang="en-US" dirty="0"/>
              <a:t>A6) You can use statement-level recompile hints to ensure you have cost-effective plans for all executions of a statement.  Recompile hints simply prevent caching of the query plans for statements in their scope (object or statement).</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26843113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r>
              <a:rPr lang="en-US" b="1" dirty="0"/>
              <a:t>Further Reading: </a:t>
            </a:r>
            <a:r>
              <a:rPr lang="en-US" dirty="0">
                <a:hlinkClick r:id="rId3"/>
              </a:rPr>
              <a:t>Monitor performance by using the Query Store - SQL Server | Microsoft Learn</a:t>
            </a:r>
            <a:endParaRPr lang="en-US" dirty="0"/>
          </a:p>
          <a:p>
            <a:r>
              <a:rPr lang="en-US" b="1" dirty="0"/>
              <a:t>Best Practices: </a:t>
            </a:r>
            <a:r>
              <a:rPr lang="en-US" dirty="0">
                <a:hlinkClick r:id="rId4"/>
              </a:rPr>
              <a:t>Best practices for monitoring workloads with Query Store - SQL Server | Microsoft Learn</a:t>
            </a:r>
            <a:endParaRPr lang="en-US" dirty="0"/>
          </a:p>
          <a:p>
            <a:endParaRPr lang="en-US" dirty="0"/>
          </a:p>
          <a:p>
            <a:pPr algn="l">
              <a:buFont typeface="Arial" panose="020B0604020202020204" pitchFamily="34" charset="0"/>
              <a:buChar char="•"/>
            </a:pPr>
            <a:r>
              <a:rPr lang="en-US" b="0" i="0" dirty="0">
                <a:solidFill>
                  <a:srgbClr val="E6E6E6"/>
                </a:solidFill>
                <a:effectLst/>
                <a:latin typeface="Segoe UI" panose="020B0502040204020203" pitchFamily="34" charset="0"/>
              </a:rPr>
              <a:t>Query Store is enabled by default for new Azure SQL Database and Azure SQL Managed Instance databases.</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Query Store is not enabled by default for SQL Server 2016 (13.x), SQL Server 2017 (14.x), SQL Server 2019 (15.x). It is enabled by default in the READ_WRITE mode for new databases starting with SQL Server 2022 (16.x). To enable features to better track performance history, troubleshoot query plan related issues, and enable new capabilities in SQL Server 2022 (16.x), we recommend enabling Query Store on all databases.</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Query Store is not enabled by default for new Azure Synapse Analytics databases.</a:t>
            </a:r>
          </a:p>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mn-cs"/>
              </a:rPr>
              <a:t>Please consider editing or deleting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ive me the top queries that have changed in performance compared to the number of executions. “</a:t>
            </a:r>
          </a:p>
        </p:txBody>
      </p:sp>
    </p:spTree>
    <p:extLst>
      <p:ext uri="{BB962C8B-B14F-4D97-AF65-F5344CB8AC3E}">
        <p14:creationId xmlns:p14="http://schemas.microsoft.com/office/powerpoint/2010/main" val="2713351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4178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Further Reading: </a:t>
            </a:r>
            <a:r>
              <a:rPr lang="en-US" dirty="0"/>
              <a:t>https://learn.microsoft.com/en-us/sql/relational-databases/performance/how-query-store-collects-data?view=sql-server-ver16</a:t>
            </a:r>
          </a:p>
          <a:p>
            <a:pPr algn="l"/>
            <a:endParaRPr lang="en-US" b="1" i="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o minimize I/O overhead, new data is captured in-memory. Write operations are queued and flushed to disk afterwards. Query and plan information, shown as Plan Store in the above diagram, are flushed with minimal latency. </a:t>
            </a:r>
          </a:p>
          <a:p>
            <a:endParaRPr lang="en-US" b="0" i="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runtime statistics, shown as Runtime Stats, are kept in memory for a period of time defined with the </a:t>
            </a:r>
            <a:r>
              <a:rPr lang="en-US" dirty="0"/>
              <a:t>DATA_FLUSH_INTERVAL_SECONDS</a:t>
            </a:r>
            <a:r>
              <a:rPr lang="en-US" b="0" i="0" dirty="0">
                <a:solidFill>
                  <a:srgbClr val="E6E6E6"/>
                </a:solidFill>
                <a:effectLst/>
                <a:latin typeface="Segoe UI" panose="020B0502040204020203" pitchFamily="34" charset="0"/>
              </a:rPr>
              <a:t> option of the </a:t>
            </a:r>
            <a:r>
              <a:rPr lang="en-US" dirty="0"/>
              <a:t>SET QUERY_STORE</a:t>
            </a:r>
            <a:r>
              <a:rPr lang="en-US" b="0" i="0" dirty="0">
                <a:solidFill>
                  <a:srgbClr val="E6E6E6"/>
                </a:solidFill>
                <a:effectLst/>
                <a:latin typeface="Segoe UI" panose="020B0502040204020203" pitchFamily="34" charset="0"/>
              </a:rPr>
              <a:t> statement. You can use the Management Studio Query Store dialog box to enter a value for </a:t>
            </a:r>
            <a:r>
              <a:rPr lang="en-US" b="1" i="0" dirty="0">
                <a:solidFill>
                  <a:srgbClr val="E6E6E6"/>
                </a:solidFill>
                <a:effectLst/>
                <a:latin typeface="Segoe UI" panose="020B0502040204020203" pitchFamily="34" charset="0"/>
              </a:rPr>
              <a:t>Data Flush Interval (Minutes)</a:t>
            </a:r>
            <a:r>
              <a:rPr lang="en-US" b="0" i="0" dirty="0">
                <a:solidFill>
                  <a:srgbClr val="E6E6E6"/>
                </a:solidFill>
                <a:effectLst/>
                <a:latin typeface="Segoe UI" panose="020B0502040204020203" pitchFamily="34" charset="0"/>
              </a:rPr>
              <a:t>, which is internally converted to seconds.</a:t>
            </a: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342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9553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158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1801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798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1561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6561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1827397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cture provide by Tracy </a:t>
            </a:r>
            <a:r>
              <a:rPr lang="en-GB" dirty="0" err="1"/>
              <a:t>Boggiano</a:t>
            </a:r>
            <a:r>
              <a:rPr lang="en-GB" dirty="0"/>
              <a:t> from her book Query Store for SQL Server 2019.</a:t>
            </a:r>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651706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0/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dirty="0"/>
              <a:t>Block of SQL Server’s working set memory dynamically shared with the buffer pool.</a:t>
            </a:r>
          </a:p>
          <a:p>
            <a:r>
              <a:rPr lang="en-US" dirty="0"/>
              <a:t>Contains compiled and optimized query plans for reuse.</a:t>
            </a:r>
          </a:p>
          <a:p>
            <a:endParaRPr lang="en-US" dirty="0"/>
          </a:p>
          <a:p>
            <a:r>
              <a:rPr lang="en-US" dirty="0"/>
              <a:t>This is generally beneficial as creating query plans is costly both in time and CPU.</a:t>
            </a:r>
          </a:p>
          <a:p>
            <a:r>
              <a:rPr lang="en-US" dirty="0"/>
              <a:t>But, plan reuse isn’t always appropriate as when differing parameters yield results sets of widely varying sizes.  Like, Nested Loop Joins are a cost-effective way to join smaller result sets, but are prohibitively expensive for very large result sets.</a:t>
            </a:r>
          </a:p>
          <a:p>
            <a:endParaRPr lang="en-US" dirty="0"/>
          </a:p>
          <a:p>
            <a:r>
              <a:rPr lang="en-US" i="1" dirty="0"/>
              <a:t>Ad hoc </a:t>
            </a:r>
            <a:r>
              <a:rPr lang="en-US" dirty="0"/>
              <a:t>SQL statements are less likely to be reused as the text of subsequent SQL statements much match </a:t>
            </a:r>
            <a:r>
              <a:rPr lang="en-US" u="sng" dirty="0"/>
              <a:t>exactly</a:t>
            </a:r>
            <a:r>
              <a:rPr lang="en-US" dirty="0"/>
              <a:t> to achieve reuse. This can bloat the plan cache with single-use plans. Address this by enabling the </a:t>
            </a:r>
            <a:r>
              <a:rPr lang="en-US" b="1" dirty="0"/>
              <a:t>Optimize for ad hoc workloads </a:t>
            </a:r>
            <a:r>
              <a:rPr lang="en-US" dirty="0"/>
              <a:t>server configuration option. Also use parameterized SQL and stored procedures in preference to </a:t>
            </a:r>
            <a:r>
              <a:rPr lang="en-US" i="1" dirty="0"/>
              <a:t>ad hoc </a:t>
            </a:r>
            <a:r>
              <a:rPr lang="en-US" dirty="0"/>
              <a:t>SQL.</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7459882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838200" y="3124200"/>
            <a:ext cx="2057400" cy="990600"/>
          </a:xfrm>
          <a:prstGeom prst="wedgeRectCallout">
            <a:avLst>
              <a:gd name="adj1" fmla="val 33954"/>
              <a:gd name="adj2" fmla="val 938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What version does “Before” refer to?</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2057400" y="3124200"/>
            <a:ext cx="2590800" cy="1066800"/>
          </a:xfrm>
          <a:prstGeom prst="wedgeRectCallout">
            <a:avLst>
              <a:gd name="adj1" fmla="val -33708"/>
              <a:gd name="adj2" fmla="val 862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query store compare plans was a complicated </a:t>
            </a: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 is unclear – please revisi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7883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sys.query_store_runtime_stats</a:t>
            </a:r>
          </a:p>
          <a:p>
            <a:r>
              <a:rPr lang="en-US" dirty="0">
                <a:hlinkClick r:id="rId3"/>
              </a:rPr>
              <a:t>https://docs.microsoft.com/en-us/sql/relational-databases/system-catalog-views/sys-query-store-runtime-stats-transact-sql?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6161484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The Query Store for secondary replicas feature enables the same Query Store functionality on secondary replica workloads that is available for primary replicas. When Query Store for secondary replicas is enabled, replicas send the query execution information that would normally be stored in the Query Store back to the primary replica. The primary replica then persists the data to disk within its own Query Store. In essence, there is one Query Store shared between the primary and all secondary replicas. The Query Store exists on the primary replica and stores data for all replicas together. Currently, Query Store for secondary replicas is available with SQL Server 2022 (16.x) instances configured in availability groups.</a:t>
            </a:r>
          </a:p>
          <a:p>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Query Store for secondary replicas is a </a:t>
            </a:r>
            <a:r>
              <a:rPr lang="en-US" b="0" i="1" dirty="0">
                <a:solidFill>
                  <a:srgbClr val="E6E6E6"/>
                </a:solidFill>
                <a:effectLst/>
                <a:latin typeface="Segoe UI" panose="020B0502040204020203" pitchFamily="34" charset="0"/>
              </a:rPr>
              <a:t>preview</a:t>
            </a:r>
            <a:r>
              <a:rPr lang="en-US" b="0" i="0" dirty="0">
                <a:solidFill>
                  <a:srgbClr val="E6E6E6"/>
                </a:solidFill>
                <a:effectLst/>
                <a:latin typeface="Segoe UI" panose="020B0502040204020203" pitchFamily="34" charset="0"/>
              </a:rPr>
              <a:t> feature. It is not intended for production deployments. See: </a:t>
            </a:r>
            <a:r>
              <a:rPr lang="en-US" b="1" i="0" u="none" strike="noStrike" dirty="0">
                <a:solidFill>
                  <a:srgbClr val="E6E6E6"/>
                </a:solidFill>
                <a:effectLst/>
                <a:latin typeface="Segoe UI" panose="020B0502040204020203" pitchFamily="34" charset="0"/>
                <a:hlinkClick r:id="rId3"/>
              </a:rPr>
              <a:t>SQL Server 2022 (16.0) release notes</a:t>
            </a:r>
            <a:r>
              <a:rPr lang="en-US" b="0" i="0" dirty="0">
                <a:solidFill>
                  <a:srgbClr val="E6E6E6"/>
                </a:solidFill>
                <a:effectLst/>
                <a:latin typeface="Segoe UI" panose="020B0502040204020203" pitchFamily="34" charset="0"/>
              </a:rPr>
              <a:t>.</a:t>
            </a:r>
          </a:p>
          <a:p>
            <a:pPr algn="l"/>
            <a:r>
              <a:rPr lang="en-US" b="0" i="0" dirty="0">
                <a:solidFill>
                  <a:srgbClr val="E6E6E6"/>
                </a:solidFill>
                <a:effectLst/>
                <a:latin typeface="Segoe UI" panose="020B0502040204020203" pitchFamily="34" charset="0"/>
              </a:rPr>
              <a:t>You must enable trace flag 12606 before you can enable Query Store for secondary replicas. To enable the </a:t>
            </a:r>
            <a:r>
              <a:rPr lang="en-US" b="1" i="0" u="none" strike="noStrike" dirty="0">
                <a:solidFill>
                  <a:srgbClr val="E6E6E6"/>
                </a:solidFill>
                <a:effectLst/>
                <a:latin typeface="Segoe UI" panose="020B0502040204020203" pitchFamily="34" charset="0"/>
                <a:hlinkClick r:id="rId4"/>
              </a:rPr>
              <a:t>trace flags</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In Windows, launch </a:t>
            </a:r>
            <a:r>
              <a:rPr lang="en-US" b="1" i="0" u="none" strike="noStrike" dirty="0">
                <a:solidFill>
                  <a:srgbClr val="E6E6E6"/>
                </a:solidFill>
                <a:effectLst/>
                <a:latin typeface="Segoe UI" panose="020B0502040204020203" pitchFamily="34" charset="0"/>
                <a:hlinkClick r:id="rId5"/>
              </a:rPr>
              <a:t>SQL Server Configuration Manager</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In the list of </a:t>
            </a:r>
            <a:r>
              <a:rPr lang="en-US" b="1" i="0" dirty="0">
                <a:solidFill>
                  <a:srgbClr val="E6E6E6"/>
                </a:solidFill>
                <a:effectLst/>
                <a:latin typeface="Segoe UI" panose="020B0502040204020203" pitchFamily="34" charset="0"/>
              </a:rPr>
              <a:t>SQL Server Services</a:t>
            </a:r>
            <a:r>
              <a:rPr lang="en-US" b="0" i="0" dirty="0">
                <a:solidFill>
                  <a:srgbClr val="E6E6E6"/>
                </a:solidFill>
                <a:effectLst/>
                <a:latin typeface="Segoe UI" panose="020B0502040204020203" pitchFamily="34" charset="0"/>
              </a:rPr>
              <a:t>, right-click on the </a:t>
            </a:r>
            <a:r>
              <a:rPr lang="en-US" b="1" i="0" dirty="0">
                <a:solidFill>
                  <a:srgbClr val="E6E6E6"/>
                </a:solidFill>
                <a:effectLst/>
                <a:latin typeface="Segoe UI" panose="020B0502040204020203" pitchFamily="34" charset="0"/>
              </a:rPr>
              <a:t>SQL Server</a:t>
            </a:r>
            <a:r>
              <a:rPr lang="en-US" b="0" i="0" dirty="0">
                <a:solidFill>
                  <a:srgbClr val="E6E6E6"/>
                </a:solidFill>
                <a:effectLst/>
                <a:latin typeface="Segoe UI" panose="020B0502040204020203" pitchFamily="34" charset="0"/>
              </a:rPr>
              <a:t> instance service for your SQL Server 2022 (16.x) instance. Select </a:t>
            </a:r>
            <a:r>
              <a:rPr lang="en-US" b="1" i="0" dirty="0">
                <a:solidFill>
                  <a:srgbClr val="E6E6E6"/>
                </a:solidFill>
                <a:effectLst/>
                <a:latin typeface="Segoe UI" panose="020B0502040204020203" pitchFamily="34" charset="0"/>
              </a:rPr>
              <a:t>Properties</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Select the </a:t>
            </a:r>
            <a:r>
              <a:rPr lang="en-US" b="1" i="0" dirty="0">
                <a:solidFill>
                  <a:srgbClr val="E6E6E6"/>
                </a:solidFill>
                <a:effectLst/>
                <a:latin typeface="Segoe UI" panose="020B0502040204020203" pitchFamily="34" charset="0"/>
              </a:rPr>
              <a:t>Start Parameters</a:t>
            </a:r>
            <a:r>
              <a:rPr lang="en-US" b="0" i="0" dirty="0">
                <a:solidFill>
                  <a:srgbClr val="E6E6E6"/>
                </a:solidFill>
                <a:effectLst/>
                <a:latin typeface="Segoe UI" panose="020B0502040204020203" pitchFamily="34" charset="0"/>
              </a:rPr>
              <a:t> tab. In the </a:t>
            </a:r>
            <a:r>
              <a:rPr lang="en-US" b="1" i="0" dirty="0">
                <a:solidFill>
                  <a:srgbClr val="E6E6E6"/>
                </a:solidFill>
                <a:effectLst/>
                <a:latin typeface="Segoe UI" panose="020B0502040204020203" pitchFamily="34" charset="0"/>
              </a:rPr>
              <a:t>Specify a startup parameter:</a:t>
            </a:r>
            <a:r>
              <a:rPr lang="en-US" b="0" i="0" dirty="0">
                <a:solidFill>
                  <a:srgbClr val="E6E6E6"/>
                </a:solidFill>
                <a:effectLst/>
                <a:latin typeface="Segoe UI" panose="020B0502040204020203" pitchFamily="34" charset="0"/>
              </a:rPr>
              <a:t> field, add the values: -T12606 and select </a:t>
            </a:r>
            <a:r>
              <a:rPr lang="en-US" b="1" i="0" dirty="0">
                <a:solidFill>
                  <a:srgbClr val="E6E6E6"/>
                </a:solidFill>
                <a:effectLst/>
                <a:latin typeface="Segoe UI" panose="020B0502040204020203" pitchFamily="34" charset="0"/>
              </a:rPr>
              <a:t>Add</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The SQL Server instance service must be restarted before the changes will take effect.</a:t>
            </a:r>
          </a:p>
          <a:p>
            <a:pPr algn="l">
              <a:buFont typeface="+mj-lt"/>
              <a:buAutoNum type="arabicPeriod"/>
            </a:pPr>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Performance considerations for Query Store for secondary replicas</a:t>
            </a:r>
          </a:p>
          <a:p>
            <a:pPr algn="l"/>
            <a:r>
              <a:rPr lang="en-US" b="0" i="0" dirty="0">
                <a:solidFill>
                  <a:srgbClr val="E6E6E6"/>
                </a:solidFill>
                <a:effectLst/>
                <a:latin typeface="Segoe UI" panose="020B0502040204020203" pitchFamily="34" charset="0"/>
              </a:rPr>
              <a:t>The channel used by secondary replicas to send query information back to the primary replica is the same channel used to keep secondary replicas up to date. Data is stored in the same tables on the primary replica that Query Store uses for queries executed on the primary replica, which causes the size of Query Store to grow.</a:t>
            </a:r>
          </a:p>
          <a:p>
            <a:pPr algn="l"/>
            <a:r>
              <a:rPr lang="en-US" b="0" i="0" dirty="0">
                <a:solidFill>
                  <a:srgbClr val="E6E6E6"/>
                </a:solidFill>
                <a:effectLst/>
                <a:latin typeface="Segoe UI" panose="020B0502040204020203" pitchFamily="34" charset="0"/>
              </a:rPr>
              <a:t>Thus, when a system is under significant load, you may notice some slowdown because of the channel being overloaded. Further, the same </a:t>
            </a:r>
            <a:r>
              <a:rPr lang="en-US" b="0" i="0" dirty="0" err="1">
                <a:solidFill>
                  <a:srgbClr val="E6E6E6"/>
                </a:solidFill>
                <a:effectLst/>
                <a:latin typeface="Segoe UI" panose="020B0502040204020203" pitchFamily="34" charset="0"/>
              </a:rPr>
              <a:t>adhoc</a:t>
            </a:r>
            <a:r>
              <a:rPr lang="en-US" b="0" i="0" dirty="0">
                <a:solidFill>
                  <a:srgbClr val="E6E6E6"/>
                </a:solidFill>
                <a:effectLst/>
                <a:latin typeface="Segoe UI" panose="020B0502040204020203" pitchFamily="34" charset="0"/>
              </a:rPr>
              <a:t> query capture issues that exist for Query Store today will continue for workloads run on secondary replicas. Learn more about how to </a:t>
            </a:r>
            <a:r>
              <a:rPr lang="en-US" b="0" i="0" u="none" strike="noStrike" dirty="0">
                <a:solidFill>
                  <a:srgbClr val="E6E6E6"/>
                </a:solidFill>
                <a:effectLst/>
                <a:latin typeface="Segoe UI" panose="020B0502040204020203" pitchFamily="34" charset="0"/>
                <a:hlinkClick r:id="rId6"/>
              </a:rPr>
              <a:t>Keep the most relevant data in Query Store</a:t>
            </a:r>
            <a:r>
              <a:rPr lang="en-US" b="0" i="0" dirty="0">
                <a:solidFill>
                  <a:srgbClr val="E6E6E6"/>
                </a:solidFill>
                <a:effectLst/>
                <a:latin typeface="Segoe UI" panose="020B0502040204020203" pitchFamily="34" charset="0"/>
              </a:rPr>
              <a:t>.</a:t>
            </a:r>
          </a:p>
          <a:p>
            <a:pPr algn="l">
              <a:buFont typeface="+mj-lt"/>
              <a:buAutoNum type="arabicPeriod"/>
            </a:pPr>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r>
              <a:rPr lang="en-US" b="1" i="0" dirty="0">
                <a:solidFill>
                  <a:srgbClr val="E6E6E6"/>
                </a:solidFill>
                <a:effectLst/>
                <a:latin typeface="Segoe UI" panose="020B0502040204020203" pitchFamily="34" charset="0"/>
              </a:rPr>
              <a:t>Further Reading: </a:t>
            </a:r>
            <a:r>
              <a:rPr lang="en-US" dirty="0">
                <a:hlinkClick r:id="rId7"/>
              </a:rPr>
              <a:t>Query Store for secondary replicas - SQL Server | Microsoft Learn</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13395985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When to use Query Store hints</a:t>
            </a:r>
          </a:p>
          <a:p>
            <a:pPr algn="l"/>
            <a:r>
              <a:rPr lang="en-US" b="0" i="0" dirty="0">
                <a:solidFill>
                  <a:srgbClr val="E6E6E6"/>
                </a:solidFill>
                <a:effectLst/>
                <a:latin typeface="Segoe UI" panose="020B0502040204020203" pitchFamily="34" charset="0"/>
              </a:rPr>
              <a:t>As the name suggests, this feature extends and depends on the </a:t>
            </a:r>
            <a:r>
              <a:rPr lang="en-US" b="0" i="0" u="none" strike="noStrike" dirty="0">
                <a:solidFill>
                  <a:srgbClr val="E6E6E6"/>
                </a:solidFill>
                <a:effectLst/>
                <a:latin typeface="Segoe UI" panose="020B0502040204020203" pitchFamily="34" charset="0"/>
                <a:hlinkClick r:id="rId3"/>
              </a:rPr>
              <a:t>Query Store</a:t>
            </a:r>
            <a:r>
              <a:rPr lang="en-US" b="0" i="0" dirty="0">
                <a:solidFill>
                  <a:srgbClr val="E6E6E6"/>
                </a:solidFill>
                <a:effectLst/>
                <a:latin typeface="Segoe UI" panose="020B0502040204020203" pitchFamily="34" charset="0"/>
              </a:rPr>
              <a:t>. Query Store enables the capturing of queries, execution plans, and associated runtime statistics. Introduced in SQL Server 2016 (13.x) and on-by-default in Azure SQL Database, Query Store greatly simplifies the overall performance tuning customer experience.</a:t>
            </a:r>
          </a:p>
          <a:p>
            <a:pPr algn="l"/>
            <a:r>
              <a:rPr lang="en-US" b="0" i="0" dirty="0">
                <a:solidFill>
                  <a:srgbClr val="E6E6E6"/>
                </a:solidFill>
                <a:effectLst/>
                <a:latin typeface="Segoe UI" panose="020B0502040204020203" pitchFamily="34" charset="0"/>
              </a:rPr>
              <a:t>First the query is executed, then captured by Query Store. Then the DBA creates a Query Store hint on a query. Thereafter, the query is executed using the Query Store hint.</a:t>
            </a:r>
          </a:p>
          <a:p>
            <a:pPr algn="l"/>
            <a:r>
              <a:rPr lang="en-US" b="0" i="0" dirty="0">
                <a:solidFill>
                  <a:srgbClr val="E6E6E6"/>
                </a:solidFill>
                <a:effectLst/>
                <a:latin typeface="Segoe UI" panose="020B0502040204020203" pitchFamily="34" charset="0"/>
              </a:rPr>
              <a:t>Examples where Query Store hints can help with query-level performance issues:</a:t>
            </a:r>
          </a:p>
          <a:p>
            <a:pPr algn="l">
              <a:buFont typeface="Arial" panose="020B0604020202020204" pitchFamily="34" charset="0"/>
              <a:buChar char="•"/>
            </a:pPr>
            <a:r>
              <a:rPr lang="en-US" b="0" i="0" dirty="0">
                <a:solidFill>
                  <a:srgbClr val="E6E6E6"/>
                </a:solidFill>
                <a:effectLst/>
                <a:latin typeface="Segoe UI" panose="020B0502040204020203" pitchFamily="34" charset="0"/>
              </a:rPr>
              <a:t>Recompile a query on each execution.</a:t>
            </a:r>
          </a:p>
          <a:p>
            <a:pPr algn="l">
              <a:buFont typeface="Arial" panose="020B0604020202020204" pitchFamily="34" charset="0"/>
              <a:buChar char="•"/>
            </a:pPr>
            <a:r>
              <a:rPr lang="en-US" b="0" i="0" dirty="0">
                <a:solidFill>
                  <a:srgbClr val="E6E6E6"/>
                </a:solidFill>
                <a:effectLst/>
                <a:latin typeface="Segoe UI" panose="020B0502040204020203" pitchFamily="34" charset="0"/>
              </a:rPr>
              <a:t>Cap the memory grant size for a bulk insert operation.</a:t>
            </a:r>
          </a:p>
          <a:p>
            <a:pPr algn="l">
              <a:buFont typeface="Arial" panose="020B0604020202020204" pitchFamily="34" charset="0"/>
              <a:buChar char="•"/>
            </a:pPr>
            <a:r>
              <a:rPr lang="en-US" b="0" i="0" dirty="0">
                <a:solidFill>
                  <a:srgbClr val="E6E6E6"/>
                </a:solidFill>
                <a:effectLst/>
                <a:latin typeface="Segoe UI" panose="020B0502040204020203" pitchFamily="34" charset="0"/>
              </a:rPr>
              <a:t>Limit the maximum degree of parallelism when updating statistics.</a:t>
            </a:r>
          </a:p>
          <a:p>
            <a:pPr algn="l">
              <a:buFont typeface="Arial" panose="020B0604020202020204" pitchFamily="34" charset="0"/>
              <a:buChar char="•"/>
            </a:pPr>
            <a:r>
              <a:rPr lang="en-US" b="0" i="0" dirty="0">
                <a:solidFill>
                  <a:srgbClr val="E6E6E6"/>
                </a:solidFill>
                <a:effectLst/>
                <a:latin typeface="Segoe UI" panose="020B0502040204020203" pitchFamily="34" charset="0"/>
              </a:rPr>
              <a:t>Use a Hash join instead of a Nested Loops join.</a:t>
            </a:r>
          </a:p>
          <a:p>
            <a:pPr algn="l">
              <a:buFont typeface="Arial" panose="020B0604020202020204" pitchFamily="34" charset="0"/>
              <a:buChar char="•"/>
            </a:pPr>
            <a:r>
              <a:rPr lang="en-US" b="0" i="0" dirty="0">
                <a:solidFill>
                  <a:srgbClr val="E6E6E6"/>
                </a:solidFill>
                <a:effectLst/>
                <a:latin typeface="Segoe UI" panose="020B0502040204020203" pitchFamily="34" charset="0"/>
              </a:rPr>
              <a:t>Use </a:t>
            </a:r>
            <a:r>
              <a:rPr lang="en-US" b="0" i="0" u="none" strike="noStrike" dirty="0">
                <a:solidFill>
                  <a:srgbClr val="E6E6E6"/>
                </a:solidFill>
                <a:effectLst/>
                <a:latin typeface="Segoe UI" panose="020B0502040204020203" pitchFamily="34" charset="0"/>
                <a:hlinkClick r:id="rId4"/>
              </a:rPr>
              <a:t>compatibility level</a:t>
            </a:r>
            <a:r>
              <a:rPr lang="en-US" b="0" i="0" dirty="0">
                <a:solidFill>
                  <a:srgbClr val="E6E6E6"/>
                </a:solidFill>
                <a:effectLst/>
                <a:latin typeface="Segoe UI" panose="020B0502040204020203" pitchFamily="34" charset="0"/>
              </a:rPr>
              <a:t> 110 for a specific query while keeping everything else in the database at compatibility level 150.</a:t>
            </a:r>
          </a:p>
          <a:p>
            <a:pPr algn="l">
              <a:buFont typeface="Arial" panose="020B0604020202020204" pitchFamily="34" charset="0"/>
              <a:buChar char="•"/>
            </a:pPr>
            <a:r>
              <a:rPr lang="en-US" b="0" i="0" dirty="0">
                <a:solidFill>
                  <a:srgbClr val="E6E6E6"/>
                </a:solidFill>
                <a:effectLst/>
                <a:latin typeface="Segoe UI" panose="020B0502040204020203" pitchFamily="34" charset="0"/>
              </a:rPr>
              <a:t>Disable row goal optimization for a SELECT TOP query.</a:t>
            </a:r>
          </a:p>
          <a:p>
            <a:pPr algn="l"/>
            <a:endParaRPr lang="en-US" b="1"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Further Reading: </a:t>
            </a:r>
            <a:r>
              <a:rPr lang="en-US" dirty="0">
                <a:hlinkClick r:id="rId5"/>
              </a:rPr>
              <a:t>Query Store hints - SQL Server | Microsoft Learn</a:t>
            </a:r>
            <a:endParaRPr lang="en-US" b="1" i="0" dirty="0">
              <a:solidFill>
                <a:srgbClr val="E6E6E6"/>
              </a:solidFill>
              <a:effectLst/>
              <a:latin typeface="Segoe UI" panose="020B0502040204020203" pitchFamily="34" charset="0"/>
            </a:endParaRPr>
          </a:p>
          <a:p>
            <a:pPr algn="l"/>
            <a:endParaRPr lang="en-US" b="1" i="0" dirty="0">
              <a:solidFill>
                <a:srgbClr val="E6E6E6"/>
              </a:solidFill>
              <a:effectLst/>
              <a:latin typeface="Segoe UI" panose="020B0502040204020203" pitchFamily="34" charset="0"/>
            </a:endParaRPr>
          </a:p>
          <a:p>
            <a:pPr algn="l"/>
            <a:endParaRPr lang="en-US" b="1"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Supported query hints</a:t>
            </a:r>
          </a:p>
          <a:p>
            <a:pPr algn="l"/>
            <a:r>
              <a:rPr lang="en-US" b="0" i="0" dirty="0">
                <a:solidFill>
                  <a:srgbClr val="E6E6E6"/>
                </a:solidFill>
                <a:effectLst/>
                <a:latin typeface="Segoe UI" panose="020B0502040204020203" pitchFamily="34" charset="0"/>
              </a:rPr>
              <a:t>These </a:t>
            </a:r>
            <a:r>
              <a:rPr lang="en-US" b="0" i="0" u="none" strike="noStrike" dirty="0">
                <a:solidFill>
                  <a:srgbClr val="E6E6E6"/>
                </a:solidFill>
                <a:effectLst/>
                <a:latin typeface="Segoe UI" panose="020B0502040204020203" pitchFamily="34" charset="0"/>
                <a:hlinkClick r:id="rId6"/>
              </a:rPr>
              <a:t>query hints</a:t>
            </a:r>
            <a:r>
              <a:rPr lang="en-US" b="0" i="0" dirty="0">
                <a:solidFill>
                  <a:srgbClr val="E6E6E6"/>
                </a:solidFill>
                <a:effectLst/>
                <a:latin typeface="Segoe UI" panose="020B0502040204020203" pitchFamily="34" charset="0"/>
              </a:rPr>
              <a:t> are supported as Query Store hints:</a:t>
            </a:r>
          </a:p>
          <a:p>
            <a:pPr algn="l"/>
            <a:r>
              <a:rPr lang="en-US" b="0" i="0" dirty="0" err="1">
                <a:solidFill>
                  <a:srgbClr val="E6E6E6"/>
                </a:solidFill>
                <a:effectLst/>
                <a:latin typeface="Segoe UI" panose="020B0502040204020203" pitchFamily="34" charset="0"/>
              </a:rPr>
              <a:t>syntaxsqlCopy</a:t>
            </a:r>
            <a:endParaRPr lang="en-US" b="0" i="0" dirty="0">
              <a:solidFill>
                <a:srgbClr val="E6E6E6"/>
              </a:solidFill>
              <a:effectLst/>
              <a:latin typeface="Segoe UI" panose="020B0502040204020203" pitchFamily="34" charset="0"/>
            </a:endParaRPr>
          </a:p>
          <a:p>
            <a:pPr algn="l"/>
            <a:r>
              <a:rPr lang="en-US" dirty="0">
                <a:effectLst/>
              </a:rPr>
              <a:t>{ </a:t>
            </a:r>
            <a:r>
              <a:rPr lang="en-US" dirty="0">
                <a:solidFill>
                  <a:srgbClr val="569CD6"/>
                </a:solidFill>
                <a:effectLst/>
              </a:rPr>
              <a:t>HASH</a:t>
            </a:r>
            <a:r>
              <a:rPr lang="en-US" dirty="0">
                <a:effectLst/>
              </a:rPr>
              <a:t> | </a:t>
            </a:r>
            <a:r>
              <a:rPr lang="en-US" dirty="0">
                <a:solidFill>
                  <a:srgbClr val="569CD6"/>
                </a:solidFill>
                <a:effectLst/>
              </a:rPr>
              <a:t>ORDER</a:t>
            </a:r>
            <a:r>
              <a:rPr lang="en-US" dirty="0">
                <a:effectLst/>
              </a:rPr>
              <a:t> } </a:t>
            </a:r>
            <a:r>
              <a:rPr lang="en-US" dirty="0">
                <a:solidFill>
                  <a:srgbClr val="569CD6"/>
                </a:solidFill>
                <a:effectLst/>
              </a:rPr>
              <a:t>GROUP</a:t>
            </a:r>
            <a:r>
              <a:rPr lang="en-US" dirty="0">
                <a:effectLst/>
              </a:rPr>
              <a:t> | { </a:t>
            </a:r>
            <a:r>
              <a:rPr lang="en-US" dirty="0">
                <a:solidFill>
                  <a:srgbClr val="569CD6"/>
                </a:solidFill>
                <a:effectLst/>
              </a:rPr>
              <a:t>CONCAT</a:t>
            </a:r>
            <a:r>
              <a:rPr lang="en-US" dirty="0">
                <a:effectLst/>
              </a:rPr>
              <a:t> | </a:t>
            </a:r>
            <a:r>
              <a:rPr lang="en-US" dirty="0">
                <a:solidFill>
                  <a:srgbClr val="569CD6"/>
                </a:solidFill>
                <a:effectLst/>
              </a:rPr>
              <a:t>HASH</a:t>
            </a:r>
            <a:r>
              <a:rPr lang="en-US" dirty="0">
                <a:effectLst/>
              </a:rPr>
              <a:t> | </a:t>
            </a:r>
            <a:r>
              <a:rPr lang="en-US" dirty="0">
                <a:solidFill>
                  <a:srgbClr val="569CD6"/>
                </a:solidFill>
                <a:effectLst/>
              </a:rPr>
              <a:t>MERGE</a:t>
            </a:r>
            <a:r>
              <a:rPr lang="en-US" dirty="0">
                <a:effectLst/>
              </a:rPr>
              <a:t> } </a:t>
            </a:r>
            <a:r>
              <a:rPr lang="en-US" dirty="0">
                <a:solidFill>
                  <a:srgbClr val="569CD6"/>
                </a:solidFill>
                <a:effectLst/>
              </a:rPr>
              <a:t>UNION</a:t>
            </a:r>
            <a:r>
              <a:rPr lang="en-US" dirty="0">
                <a:effectLst/>
              </a:rPr>
              <a:t> | { </a:t>
            </a:r>
            <a:r>
              <a:rPr lang="en-US" dirty="0">
                <a:solidFill>
                  <a:srgbClr val="569CD6"/>
                </a:solidFill>
                <a:effectLst/>
              </a:rPr>
              <a:t>LOOP</a:t>
            </a:r>
            <a:r>
              <a:rPr lang="en-US" dirty="0">
                <a:effectLst/>
              </a:rPr>
              <a:t> | </a:t>
            </a:r>
            <a:r>
              <a:rPr lang="en-US" dirty="0">
                <a:solidFill>
                  <a:srgbClr val="569CD6"/>
                </a:solidFill>
                <a:effectLst/>
              </a:rPr>
              <a:t>MERGE</a:t>
            </a:r>
            <a:r>
              <a:rPr lang="en-US" dirty="0">
                <a:effectLst/>
              </a:rPr>
              <a:t> | </a:t>
            </a:r>
            <a:r>
              <a:rPr lang="en-US" dirty="0">
                <a:solidFill>
                  <a:srgbClr val="569CD6"/>
                </a:solidFill>
                <a:effectLst/>
              </a:rPr>
              <a:t>HASH</a:t>
            </a:r>
            <a:r>
              <a:rPr lang="en-US" dirty="0">
                <a:effectLst/>
              </a:rPr>
              <a:t> } </a:t>
            </a:r>
            <a:r>
              <a:rPr lang="en-US" dirty="0">
                <a:solidFill>
                  <a:srgbClr val="569CD6"/>
                </a:solidFill>
                <a:effectLst/>
              </a:rPr>
              <a:t>JOIN</a:t>
            </a:r>
            <a:r>
              <a:rPr lang="en-US" dirty="0">
                <a:effectLst/>
              </a:rPr>
              <a:t> | </a:t>
            </a:r>
            <a:r>
              <a:rPr lang="en-US" dirty="0">
                <a:solidFill>
                  <a:srgbClr val="569CD6"/>
                </a:solidFill>
                <a:effectLst/>
              </a:rPr>
              <a:t>EXPAND</a:t>
            </a:r>
            <a:r>
              <a:rPr lang="en-US" dirty="0">
                <a:effectLst/>
              </a:rPr>
              <a:t> </a:t>
            </a:r>
            <a:r>
              <a:rPr lang="en-US" dirty="0">
                <a:solidFill>
                  <a:srgbClr val="569CD6"/>
                </a:solidFill>
                <a:effectLst/>
              </a:rPr>
              <a:t>VIEWS</a:t>
            </a:r>
            <a:r>
              <a:rPr lang="en-US" dirty="0">
                <a:effectLst/>
              </a:rPr>
              <a:t> | </a:t>
            </a:r>
            <a:r>
              <a:rPr lang="en-US" dirty="0">
                <a:solidFill>
                  <a:srgbClr val="569CD6"/>
                </a:solidFill>
                <a:effectLst/>
              </a:rPr>
              <a:t>FAST</a:t>
            </a:r>
            <a:r>
              <a:rPr lang="en-US" dirty="0">
                <a:effectLst/>
              </a:rPr>
              <a:t> </a:t>
            </a:r>
            <a:r>
              <a:rPr lang="en-US" dirty="0" err="1">
                <a:effectLst/>
              </a:rPr>
              <a:t>number_rows</a:t>
            </a:r>
            <a:r>
              <a:rPr lang="en-US" dirty="0">
                <a:effectLst/>
              </a:rPr>
              <a:t> | </a:t>
            </a:r>
            <a:r>
              <a:rPr lang="en-US" dirty="0">
                <a:solidFill>
                  <a:srgbClr val="569CD6"/>
                </a:solidFill>
                <a:effectLst/>
              </a:rPr>
              <a:t>FORCE</a:t>
            </a:r>
            <a:r>
              <a:rPr lang="en-US" dirty="0">
                <a:effectLst/>
              </a:rPr>
              <a:t> </a:t>
            </a:r>
            <a:r>
              <a:rPr lang="en-US" dirty="0">
                <a:solidFill>
                  <a:srgbClr val="569CD6"/>
                </a:solidFill>
                <a:effectLst/>
              </a:rPr>
              <a:t>ORDER</a:t>
            </a:r>
            <a:r>
              <a:rPr lang="en-US" dirty="0">
                <a:effectLst/>
              </a:rPr>
              <a:t> | </a:t>
            </a:r>
            <a:r>
              <a:rPr lang="en-US" dirty="0">
                <a:solidFill>
                  <a:srgbClr val="569CD6"/>
                </a:solidFill>
                <a:effectLst/>
              </a:rPr>
              <a:t>IGNORE</a:t>
            </a:r>
            <a:r>
              <a:rPr lang="en-US" dirty="0">
                <a:effectLst/>
              </a:rPr>
              <a:t>_</a:t>
            </a:r>
            <a:r>
              <a:rPr lang="en-US" dirty="0">
                <a:solidFill>
                  <a:srgbClr val="569CD6"/>
                </a:solidFill>
                <a:effectLst/>
              </a:rPr>
              <a:t>NONCLUSTERED</a:t>
            </a:r>
            <a:r>
              <a:rPr lang="en-US" dirty="0">
                <a:effectLst/>
              </a:rPr>
              <a:t>_</a:t>
            </a:r>
            <a:r>
              <a:rPr lang="en-US" dirty="0">
                <a:solidFill>
                  <a:srgbClr val="569CD6"/>
                </a:solidFill>
                <a:effectLst/>
              </a:rPr>
              <a:t>COLUMNSTORE</a:t>
            </a:r>
            <a:r>
              <a:rPr lang="en-US" dirty="0">
                <a:effectLst/>
              </a:rPr>
              <a:t>_</a:t>
            </a:r>
            <a:r>
              <a:rPr lang="en-US" dirty="0">
                <a:solidFill>
                  <a:srgbClr val="569CD6"/>
                </a:solidFill>
                <a:effectLst/>
              </a:rPr>
              <a:t>INDEX</a:t>
            </a:r>
            <a:r>
              <a:rPr lang="en-US" dirty="0">
                <a:effectLst/>
              </a:rPr>
              <a:t> | </a:t>
            </a:r>
            <a:r>
              <a:rPr lang="en-US" dirty="0">
                <a:solidFill>
                  <a:srgbClr val="569CD6"/>
                </a:solidFill>
                <a:effectLst/>
              </a:rPr>
              <a:t>KEEP</a:t>
            </a:r>
            <a:r>
              <a:rPr lang="en-US" dirty="0">
                <a:effectLst/>
              </a:rPr>
              <a:t> </a:t>
            </a:r>
            <a:r>
              <a:rPr lang="en-US" dirty="0">
                <a:solidFill>
                  <a:srgbClr val="569CD6"/>
                </a:solidFill>
                <a:effectLst/>
              </a:rPr>
              <a:t>PLAN</a:t>
            </a:r>
            <a:r>
              <a:rPr lang="en-US" dirty="0">
                <a:effectLst/>
              </a:rPr>
              <a:t> | </a:t>
            </a:r>
            <a:r>
              <a:rPr lang="en-US" dirty="0">
                <a:solidFill>
                  <a:srgbClr val="569CD6"/>
                </a:solidFill>
                <a:effectLst/>
              </a:rPr>
              <a:t>KEEPFIXED</a:t>
            </a:r>
            <a:r>
              <a:rPr lang="en-US" dirty="0">
                <a:effectLst/>
              </a:rPr>
              <a:t> </a:t>
            </a:r>
            <a:r>
              <a:rPr lang="en-US" dirty="0">
                <a:solidFill>
                  <a:srgbClr val="569CD6"/>
                </a:solidFill>
                <a:effectLst/>
              </a:rPr>
              <a:t>PLAN</a:t>
            </a:r>
            <a:r>
              <a:rPr lang="en-US" dirty="0">
                <a:effectLst/>
              </a:rPr>
              <a:t> | </a:t>
            </a:r>
            <a:r>
              <a:rPr lang="en-US" dirty="0">
                <a:solidFill>
                  <a:srgbClr val="569CD6"/>
                </a:solidFill>
                <a:effectLst/>
              </a:rPr>
              <a:t>MAX</a:t>
            </a:r>
            <a:r>
              <a:rPr lang="en-US" dirty="0">
                <a:effectLst/>
              </a:rPr>
              <a:t>_</a:t>
            </a:r>
            <a:r>
              <a:rPr lang="en-US" dirty="0">
                <a:solidFill>
                  <a:srgbClr val="569CD6"/>
                </a:solidFill>
                <a:effectLst/>
              </a:rPr>
              <a:t>GRANT</a:t>
            </a:r>
            <a:r>
              <a:rPr lang="en-US" dirty="0">
                <a:effectLst/>
              </a:rPr>
              <a:t>_</a:t>
            </a:r>
            <a:r>
              <a:rPr lang="en-US" dirty="0">
                <a:solidFill>
                  <a:srgbClr val="569CD6"/>
                </a:solidFill>
                <a:effectLst/>
              </a:rPr>
              <a:t>PERCENT</a:t>
            </a:r>
            <a:r>
              <a:rPr lang="en-US" dirty="0">
                <a:effectLst/>
              </a:rPr>
              <a:t> = percent | </a:t>
            </a:r>
            <a:r>
              <a:rPr lang="en-US" dirty="0">
                <a:solidFill>
                  <a:srgbClr val="569CD6"/>
                </a:solidFill>
                <a:effectLst/>
              </a:rPr>
              <a:t>MIN</a:t>
            </a:r>
            <a:r>
              <a:rPr lang="en-US" dirty="0">
                <a:effectLst/>
              </a:rPr>
              <a:t>_</a:t>
            </a:r>
            <a:r>
              <a:rPr lang="en-US" dirty="0">
                <a:solidFill>
                  <a:srgbClr val="569CD6"/>
                </a:solidFill>
                <a:effectLst/>
              </a:rPr>
              <a:t>GRANT</a:t>
            </a:r>
            <a:r>
              <a:rPr lang="en-US" dirty="0">
                <a:effectLst/>
              </a:rPr>
              <a:t>_</a:t>
            </a:r>
            <a:r>
              <a:rPr lang="en-US" dirty="0">
                <a:solidFill>
                  <a:srgbClr val="569CD6"/>
                </a:solidFill>
                <a:effectLst/>
              </a:rPr>
              <a:t>PERCENT</a:t>
            </a:r>
            <a:r>
              <a:rPr lang="en-US" dirty="0">
                <a:effectLst/>
              </a:rPr>
              <a:t> = percent | </a:t>
            </a:r>
            <a:r>
              <a:rPr lang="en-US" dirty="0">
                <a:solidFill>
                  <a:srgbClr val="569CD6"/>
                </a:solidFill>
                <a:effectLst/>
              </a:rPr>
              <a:t>MAXDOP</a:t>
            </a:r>
            <a:r>
              <a:rPr lang="en-US" dirty="0">
                <a:effectLst/>
              </a:rPr>
              <a:t> </a:t>
            </a:r>
            <a:r>
              <a:rPr lang="en-US" dirty="0" err="1">
                <a:effectLst/>
              </a:rPr>
              <a:t>number_of_processors</a:t>
            </a:r>
            <a:r>
              <a:rPr lang="en-US" dirty="0">
                <a:effectLst/>
              </a:rPr>
              <a:t> | </a:t>
            </a:r>
            <a:r>
              <a:rPr lang="en-US" dirty="0">
                <a:solidFill>
                  <a:srgbClr val="569CD6"/>
                </a:solidFill>
                <a:effectLst/>
              </a:rPr>
              <a:t>NO</a:t>
            </a:r>
            <a:r>
              <a:rPr lang="en-US" dirty="0">
                <a:effectLst/>
              </a:rPr>
              <a:t>_</a:t>
            </a:r>
            <a:r>
              <a:rPr lang="en-US" dirty="0">
                <a:solidFill>
                  <a:srgbClr val="569CD6"/>
                </a:solidFill>
                <a:effectLst/>
              </a:rPr>
              <a:t>PERFORMANCE</a:t>
            </a:r>
            <a:r>
              <a:rPr lang="en-US" dirty="0">
                <a:effectLst/>
              </a:rPr>
              <a:t>_</a:t>
            </a:r>
            <a:r>
              <a:rPr lang="en-US" dirty="0">
                <a:solidFill>
                  <a:srgbClr val="569CD6"/>
                </a:solidFill>
                <a:effectLst/>
              </a:rPr>
              <a:t>SPOOL</a:t>
            </a:r>
            <a:r>
              <a:rPr lang="en-US" dirty="0">
                <a:effectLst/>
              </a:rPr>
              <a:t> | </a:t>
            </a:r>
            <a:r>
              <a:rPr lang="en-US" dirty="0">
                <a:solidFill>
                  <a:srgbClr val="569CD6"/>
                </a:solidFill>
                <a:effectLst/>
              </a:rPr>
              <a:t>OPTIMIZE</a:t>
            </a:r>
            <a:r>
              <a:rPr lang="en-US" dirty="0">
                <a:effectLst/>
              </a:rPr>
              <a:t> </a:t>
            </a:r>
            <a:r>
              <a:rPr lang="en-US" dirty="0">
                <a:solidFill>
                  <a:srgbClr val="569CD6"/>
                </a:solidFill>
                <a:effectLst/>
              </a:rPr>
              <a:t>FOR</a:t>
            </a:r>
            <a:r>
              <a:rPr lang="en-US" dirty="0">
                <a:effectLst/>
              </a:rPr>
              <a:t> </a:t>
            </a:r>
            <a:r>
              <a:rPr lang="en-US" dirty="0">
                <a:solidFill>
                  <a:srgbClr val="569CD6"/>
                </a:solidFill>
                <a:effectLst/>
              </a:rPr>
              <a:t>UNKNOWN</a:t>
            </a:r>
            <a:r>
              <a:rPr lang="en-US" dirty="0">
                <a:effectLst/>
              </a:rPr>
              <a:t> | </a:t>
            </a:r>
            <a:r>
              <a:rPr lang="en-US" dirty="0">
                <a:solidFill>
                  <a:srgbClr val="569CD6"/>
                </a:solidFill>
                <a:effectLst/>
              </a:rPr>
              <a:t>PARAMETERIZATION</a:t>
            </a:r>
            <a:r>
              <a:rPr lang="en-US" dirty="0">
                <a:effectLst/>
              </a:rPr>
              <a:t> { </a:t>
            </a:r>
            <a:r>
              <a:rPr lang="en-US" dirty="0">
                <a:solidFill>
                  <a:srgbClr val="569CD6"/>
                </a:solidFill>
                <a:effectLst/>
              </a:rPr>
              <a:t>SIMPLE</a:t>
            </a:r>
            <a:r>
              <a:rPr lang="en-US" dirty="0">
                <a:effectLst/>
              </a:rPr>
              <a:t> | </a:t>
            </a:r>
            <a:r>
              <a:rPr lang="en-US" dirty="0">
                <a:solidFill>
                  <a:srgbClr val="569CD6"/>
                </a:solidFill>
                <a:effectLst/>
              </a:rPr>
              <a:t>FORCED</a:t>
            </a:r>
            <a:r>
              <a:rPr lang="en-US" dirty="0">
                <a:effectLst/>
              </a:rPr>
              <a:t> } | </a:t>
            </a:r>
            <a:r>
              <a:rPr lang="en-US" dirty="0">
                <a:solidFill>
                  <a:srgbClr val="569CD6"/>
                </a:solidFill>
                <a:effectLst/>
              </a:rPr>
              <a:t>RECOMPILE</a:t>
            </a:r>
            <a:r>
              <a:rPr lang="en-US" dirty="0">
                <a:effectLst/>
              </a:rPr>
              <a:t> | </a:t>
            </a:r>
            <a:r>
              <a:rPr lang="en-US" dirty="0">
                <a:solidFill>
                  <a:srgbClr val="569CD6"/>
                </a:solidFill>
                <a:effectLst/>
              </a:rPr>
              <a:t>ROBUST</a:t>
            </a:r>
            <a:r>
              <a:rPr lang="en-US" dirty="0">
                <a:effectLst/>
              </a:rPr>
              <a:t> </a:t>
            </a:r>
            <a:r>
              <a:rPr lang="en-US" dirty="0">
                <a:solidFill>
                  <a:srgbClr val="569CD6"/>
                </a:solidFill>
                <a:effectLst/>
              </a:rPr>
              <a:t>PLAN</a:t>
            </a:r>
            <a:r>
              <a:rPr lang="en-US" dirty="0">
                <a:effectLst/>
              </a:rPr>
              <a:t> | </a:t>
            </a:r>
            <a:r>
              <a:rPr lang="en-US" dirty="0">
                <a:solidFill>
                  <a:srgbClr val="569CD6"/>
                </a:solidFill>
                <a:effectLst/>
              </a:rPr>
              <a:t>USE</a:t>
            </a:r>
            <a:r>
              <a:rPr lang="en-US" dirty="0">
                <a:effectLst/>
              </a:rPr>
              <a:t> </a:t>
            </a:r>
            <a:r>
              <a:rPr lang="en-US" dirty="0">
                <a:solidFill>
                  <a:srgbClr val="569CD6"/>
                </a:solidFill>
                <a:effectLst/>
              </a:rPr>
              <a:t>HINT</a:t>
            </a:r>
            <a:r>
              <a:rPr lang="en-US" dirty="0">
                <a:effectLst/>
              </a:rPr>
              <a:t> ( </a:t>
            </a:r>
            <a:r>
              <a:rPr lang="en-US" dirty="0">
                <a:solidFill>
                  <a:srgbClr val="CE9178"/>
                </a:solidFill>
                <a:effectLst/>
              </a:rPr>
              <a:t>'&lt;</a:t>
            </a:r>
            <a:r>
              <a:rPr lang="en-US" dirty="0" err="1">
                <a:solidFill>
                  <a:srgbClr val="CE9178"/>
                </a:solidFill>
                <a:effectLst/>
              </a:rPr>
              <a:t>hint_name</a:t>
            </a:r>
            <a:r>
              <a:rPr lang="en-US" dirty="0">
                <a:solidFill>
                  <a:srgbClr val="CE9178"/>
                </a:solidFill>
                <a:effectLst/>
              </a:rPr>
              <a:t>&gt;'</a:t>
            </a:r>
            <a:r>
              <a:rPr lang="en-US" dirty="0">
                <a:effectLst/>
              </a:rPr>
              <a:t> [ , ...n ] ) </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The following query hints are currently unsupported:</a:t>
            </a:r>
          </a:p>
          <a:p>
            <a:pPr algn="l">
              <a:buFont typeface="Arial" panose="020B0604020202020204" pitchFamily="34" charset="0"/>
              <a:buChar char="•"/>
            </a:pPr>
            <a:r>
              <a:rPr lang="en-US" b="0" i="0" dirty="0">
                <a:solidFill>
                  <a:srgbClr val="E6E6E6"/>
                </a:solidFill>
                <a:effectLst/>
                <a:latin typeface="Segoe UI" panose="020B0502040204020203" pitchFamily="34" charset="0"/>
              </a:rPr>
              <a:t>OPTIMIZE FOR ( @var = </a:t>
            </a:r>
            <a:r>
              <a:rPr lang="en-US" b="0" i="0" dirty="0" err="1">
                <a:solidFill>
                  <a:srgbClr val="E6E6E6"/>
                </a:solidFill>
                <a:effectLst/>
                <a:latin typeface="Segoe UI" panose="020B0502040204020203" pitchFamily="34" charset="0"/>
              </a:rPr>
              <a:t>val</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MAXRECURSION</a:t>
            </a:r>
          </a:p>
          <a:p>
            <a:pPr algn="l">
              <a:buFont typeface="Arial" panose="020B0604020202020204" pitchFamily="34" charset="0"/>
              <a:buChar char="•"/>
            </a:pPr>
            <a:r>
              <a:rPr lang="en-US" b="0" i="0" dirty="0">
                <a:solidFill>
                  <a:srgbClr val="E6E6E6"/>
                </a:solidFill>
                <a:effectLst/>
                <a:latin typeface="Segoe UI" panose="020B0502040204020203" pitchFamily="34" charset="0"/>
              </a:rPr>
              <a:t>USE PLAN (instead, consider Query Store's original plan forcing capability, </a:t>
            </a:r>
            <a:r>
              <a:rPr lang="en-US" b="0" i="0" u="none" strike="noStrike" dirty="0" err="1">
                <a:solidFill>
                  <a:srgbClr val="E6E6E6"/>
                </a:solidFill>
                <a:effectLst/>
                <a:latin typeface="Segoe UI" panose="020B0502040204020203" pitchFamily="34" charset="0"/>
                <a:hlinkClick r:id="rId7"/>
              </a:rPr>
              <a:t>sp_query_store_force_plan</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DISABLE_DEFERRED_COMPILATION_TV</a:t>
            </a:r>
          </a:p>
          <a:p>
            <a:pPr algn="l">
              <a:buFont typeface="Arial" panose="020B0604020202020204" pitchFamily="34" charset="0"/>
              <a:buChar char="•"/>
            </a:pPr>
            <a:r>
              <a:rPr lang="en-US" b="0" i="0" dirty="0">
                <a:solidFill>
                  <a:srgbClr val="E6E6E6"/>
                </a:solidFill>
                <a:effectLst/>
                <a:latin typeface="Segoe UI" panose="020B0502040204020203" pitchFamily="34" charset="0"/>
              </a:rPr>
              <a:t>DISABLE_TSQL_SCALAR_UDF_INLINING</a:t>
            </a:r>
          </a:p>
          <a:p>
            <a:pPr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8"/>
              </a:rPr>
              <a:t>Table hints (for example, FORCESEEK, READUNCOMMITTED, INDEX)</a:t>
            </a:r>
            <a:endParaRPr lang="en-US" b="0" i="0" dirty="0">
              <a:solidFill>
                <a:srgbClr val="E6E6E6"/>
              </a:solidFill>
              <a:effectLst/>
              <a:latin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dirty="0"/>
          </a:p>
        </p:txBody>
      </p:sp>
    </p:spTree>
    <p:extLst>
      <p:ext uri="{BB962C8B-B14F-4D97-AF65-F5344CB8AC3E}">
        <p14:creationId xmlns:p14="http://schemas.microsoft.com/office/powerpoint/2010/main" val="25408915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To use Query Store hints:</a:t>
            </a:r>
          </a:p>
          <a:p>
            <a:pPr algn="l">
              <a:buFont typeface="+mj-lt"/>
              <a:buAutoNum type="arabicPeriod"/>
            </a:pPr>
            <a:r>
              <a:rPr lang="en-US" b="0" i="0" dirty="0">
                <a:solidFill>
                  <a:srgbClr val="E6E6E6"/>
                </a:solidFill>
                <a:effectLst/>
                <a:latin typeface="Segoe UI" panose="020B0502040204020203" pitchFamily="34" charset="0"/>
              </a:rPr>
              <a:t> Identify the Query Store query_id of the query statement you wish to modify. You can do this in various ways: 1.1. Querying the </a:t>
            </a:r>
            <a:r>
              <a:rPr lang="en-US" b="0" i="0" u="none" strike="noStrike" dirty="0">
                <a:solidFill>
                  <a:srgbClr val="E6E6E6"/>
                </a:solidFill>
                <a:effectLst/>
                <a:latin typeface="Segoe UI" panose="020B0502040204020203" pitchFamily="34" charset="0"/>
                <a:hlinkClick r:id="rId3"/>
              </a:rPr>
              <a:t>Query Store catalog views</a:t>
            </a:r>
            <a:r>
              <a:rPr lang="en-US" b="0" i="0" dirty="0">
                <a:solidFill>
                  <a:srgbClr val="E6E6E6"/>
                </a:solidFill>
                <a:effectLst/>
                <a:latin typeface="Segoe UI" panose="020B0502040204020203" pitchFamily="34" charset="0"/>
              </a:rPr>
              <a:t>. 1.2. Using SQL Server Management Studio built-in Query Store reports. 1.3. Using Azure portal Query Performance Insight for Azure SQL Database.</a:t>
            </a:r>
          </a:p>
          <a:p>
            <a:pPr algn="l">
              <a:buFont typeface="+mj-lt"/>
              <a:buAutoNum type="arabicPeriod"/>
            </a:pPr>
            <a:endParaRPr lang="en-US" b="0" i="0" dirty="0">
              <a:solidFill>
                <a:srgbClr val="E6E6E6"/>
              </a:solidFill>
              <a:effectLst/>
              <a:latin typeface="Segoe UI" panose="020B0502040204020203" pitchFamily="34" charset="0"/>
            </a:endParaRPr>
          </a:p>
          <a:p>
            <a:pPr algn="l">
              <a:buFont typeface="+mj-lt"/>
              <a:buAutoNum type="arabicPeriod"/>
            </a:pPr>
            <a:r>
              <a:rPr lang="en-US" b="0" i="0" dirty="0">
                <a:solidFill>
                  <a:srgbClr val="E6E6E6"/>
                </a:solidFill>
                <a:effectLst/>
                <a:latin typeface="Segoe UI" panose="020B0502040204020203" pitchFamily="34" charset="0"/>
              </a:rPr>
              <a:t> Execute </a:t>
            </a:r>
            <a:r>
              <a:rPr lang="en-US" b="0" i="0" dirty="0" err="1">
                <a:solidFill>
                  <a:srgbClr val="E6E6E6"/>
                </a:solidFill>
                <a:effectLst/>
                <a:latin typeface="Segoe UI" panose="020B0502040204020203" pitchFamily="34" charset="0"/>
              </a:rPr>
              <a:t>sys.sp_query_store_set_hints</a:t>
            </a:r>
            <a:r>
              <a:rPr lang="en-US" b="0" i="0" dirty="0">
                <a:solidFill>
                  <a:srgbClr val="E6E6E6"/>
                </a:solidFill>
                <a:effectLst/>
                <a:latin typeface="Segoe UI" panose="020B0502040204020203" pitchFamily="34" charset="0"/>
              </a:rPr>
              <a:t> with the query_id and query hint string you wish to apply to the query. This string can contain one or more query hints. For complete information, see </a:t>
            </a:r>
            <a:r>
              <a:rPr lang="en-US" b="0" i="0" u="none" strike="noStrike" dirty="0" err="1">
                <a:solidFill>
                  <a:srgbClr val="E6E6E6"/>
                </a:solidFill>
                <a:effectLst/>
                <a:latin typeface="Segoe UI" panose="020B0502040204020203" pitchFamily="34" charset="0"/>
                <a:hlinkClick r:id="rId4"/>
              </a:rPr>
              <a:t>sys.sp_query_store_set_hints</a:t>
            </a:r>
            <a:r>
              <a:rPr lang="en-US" b="0" i="0" dirty="0">
                <a:solidFill>
                  <a:srgbClr val="E6E6E6"/>
                </a:solidFill>
                <a:effectLst/>
                <a:latin typeface="Segoe UI" panose="020B0502040204020203" pitchFamily="34" charset="0"/>
              </a:rPr>
              <a:t>.</a:t>
            </a:r>
          </a:p>
          <a:p>
            <a:pPr algn="l">
              <a:buFont typeface="+mj-lt"/>
              <a:buAutoNum type="arabicPeriod"/>
            </a:pPr>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Once created, Query Store hints are persisted and survive restarts and failovers. Query Store hints override hard-coded statement-level hints and existing plan guide hints.</a:t>
            </a:r>
          </a:p>
          <a:p>
            <a:pPr algn="l"/>
            <a:r>
              <a:rPr lang="en-US" b="0" i="0" dirty="0">
                <a:solidFill>
                  <a:srgbClr val="E6E6E6"/>
                </a:solidFill>
                <a:effectLst/>
                <a:latin typeface="Segoe UI" panose="020B0502040204020203" pitchFamily="34" charset="0"/>
              </a:rPr>
              <a:t>If a query hint contradicts what is possible for query optimization, query execution is not blocked and the hint isn't applied. In the cases where a hint would cause a query to fail, the hint is ignored and the latest failure details can be viewed in </a:t>
            </a:r>
            <a:r>
              <a:rPr lang="en-US" b="0" i="0" u="none" strike="noStrike" dirty="0" err="1">
                <a:solidFill>
                  <a:srgbClr val="E6E6E6"/>
                </a:solidFill>
                <a:effectLst/>
                <a:latin typeface="Segoe UI" panose="020B0502040204020203" pitchFamily="34" charset="0"/>
                <a:hlinkClick r:id="rId5"/>
              </a:rPr>
              <a:t>sys.query_store_query_hints</a:t>
            </a:r>
            <a:r>
              <a:rPr lang="en-US" b="0" i="0" dirty="0">
                <a:solidFill>
                  <a:srgbClr val="E6E6E6"/>
                </a:solidFill>
                <a:effectLst/>
                <a:latin typeface="Segoe UI" panose="020B0502040204020203" pitchFamily="34" charset="0"/>
              </a:rPr>
              <a:t>.</a:t>
            </a:r>
          </a:p>
          <a:p>
            <a:pPr algn="l"/>
            <a:endParaRPr lang="en-US" b="0" i="0" dirty="0">
              <a:solidFill>
                <a:srgbClr val="E6E6E6"/>
              </a:solidFill>
              <a:effectLst/>
              <a:latin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32888435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dirty="0">
                <a:solidFill>
                  <a:srgbClr val="000000"/>
                </a:solidFill>
                <a:latin typeface="Consolas" panose="020B0609020204030204" pitchFamily="49" charset="0"/>
              </a:rPr>
              <a:t>M08L03Lab01</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Q1)  If upgrading from SQL Server 2012 to 2019. Which report should figure prominently in your upgrade plans?</a:t>
            </a:r>
          </a:p>
          <a:p>
            <a:pPr lvl="0"/>
            <a:r>
              <a:rPr lang="en-US" dirty="0"/>
              <a:t>A1)  The Regressed Queries report. During upgrade testing and at go live, you should:</a:t>
            </a:r>
          </a:p>
          <a:p>
            <a:pPr marL="381762" lvl="1" indent="-171450">
              <a:buFont typeface="Arial" panose="020B0604020202020204" pitchFamily="34" charset="0"/>
              <a:buChar char="•"/>
            </a:pPr>
            <a:r>
              <a:rPr lang="en-US" dirty="0"/>
              <a:t>Restore the 2012 backup leaving the Compatibility Level set to 110.</a:t>
            </a:r>
          </a:p>
          <a:p>
            <a:pPr marL="381762" lvl="1" indent="-171450">
              <a:buFont typeface="Arial" panose="020B0604020202020204" pitchFamily="34" charset="0"/>
              <a:buChar char="•"/>
            </a:pPr>
            <a:r>
              <a:rPr lang="en-US" dirty="0"/>
              <a:t>Enable Query Store.</a:t>
            </a:r>
          </a:p>
          <a:p>
            <a:pPr marL="381762" lvl="1" indent="-171450">
              <a:buFont typeface="Arial" panose="020B0604020202020204" pitchFamily="34" charset="0"/>
              <a:buChar char="•"/>
            </a:pPr>
            <a:r>
              <a:rPr lang="en-US" dirty="0"/>
              <a:t>Collect a representative sample of query execution data at the original Compatibility Level.</a:t>
            </a:r>
          </a:p>
          <a:p>
            <a:pPr marL="381762" lvl="1" indent="-171450">
              <a:buFont typeface="Arial" panose="020B0604020202020204" pitchFamily="34" charset="0"/>
              <a:buChar char="•"/>
            </a:pPr>
            <a:r>
              <a:rPr lang="en-US" dirty="0"/>
              <a:t>Change the Compatibility Level to 150.</a:t>
            </a:r>
          </a:p>
          <a:p>
            <a:pPr marL="381762" lvl="1" indent="-171450">
              <a:buFont typeface="Arial" panose="020B0604020202020204" pitchFamily="34" charset="0"/>
              <a:buChar char="•"/>
            </a:pPr>
            <a:r>
              <a:rPr lang="en-US" dirty="0"/>
              <a:t>Monitor this report for queries that are performing less well at the new Compatibility Level (query plan regressions).</a:t>
            </a:r>
          </a:p>
          <a:p>
            <a:pPr lvl="0"/>
            <a:endParaRPr lang="en-US" dirty="0"/>
          </a:p>
          <a:p>
            <a:pPr lvl="0"/>
            <a:r>
              <a:rPr lang="en-US" b="1" dirty="0"/>
              <a:t>Q2)  In the report bar chart what does each bar represent?</a:t>
            </a:r>
          </a:p>
          <a:p>
            <a:pPr lvl="0"/>
            <a:r>
              <a:rPr lang="en-US" dirty="0"/>
              <a:t>A2)  A unique combination of a SQL statement (identified by a query_text_id) and context settings (context_settings_id). Each bar will have a unique query_id value.</a:t>
            </a:r>
          </a:p>
          <a:p>
            <a:pPr lvl="0"/>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3) Which report can help troubleshoot  a parameter sniffing issue?</a:t>
            </a:r>
          </a:p>
          <a:p>
            <a:pPr lvl="0"/>
            <a:r>
              <a:rPr lang="en-US" dirty="0"/>
              <a:t>A3)  The Queries With High Variation report.  </a:t>
            </a:r>
          </a:p>
          <a:p>
            <a:pPr lvl="0"/>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4) Querying the wait statistics DMV it returns high PAGEIOLATCH waits. Which report can help identify queries with high IO wait times? </a:t>
            </a:r>
          </a:p>
          <a:p>
            <a:pPr lvl="0"/>
            <a:r>
              <a:rPr lang="en-US" dirty="0"/>
              <a:t>A4)  The Query Wait Statistics report. Waits are grouped into categories to lessen the performance impact of collecting this data, but you could drill down on BufferIO to find queries that have accumulated I/O related waits.</a:t>
            </a:r>
          </a:p>
          <a:p>
            <a:pPr lvl="0"/>
            <a:endParaRPr lang="en-US" dirty="0"/>
          </a:p>
          <a:p>
            <a:pPr lvl="0"/>
            <a:r>
              <a:rPr lang="en-US" b="1" dirty="0"/>
              <a:t>Q5)  Someone has dropped an index needed by a forced plan. What happens the next time the query executes? What happens if the index is recreated?</a:t>
            </a:r>
          </a:p>
          <a:p>
            <a:r>
              <a:rPr lang="en-US" dirty="0"/>
              <a:t>A5)  The Optimizer gracefully recovers. It will generate a new query plan. You could visualize this failure in the Queries With Force Plans report. Check marks on dots in the Plan Summary indicate use of a forced plan. The reason for a forced plan failure can be found in the UI or in sys.query_store_plans. Should the dropped index be restored use of the forced plan will resume.</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4405942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78799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kern="1200" baseline="0" dirty="0">
                <a:solidFill>
                  <a:schemeClr val="tx1"/>
                </a:solidFill>
                <a:effectLst/>
                <a:latin typeface="+mn-lt"/>
                <a:ea typeface="+mn-ea"/>
                <a:cs typeface="+mn-cs"/>
              </a:rPr>
              <a:t>Maximum number of entries the plan cache can hold:</a:t>
            </a:r>
          </a:p>
          <a:p>
            <a:pPr lvl="1" rtl="0" fontAlgn="ctr"/>
            <a:r>
              <a:rPr lang="en-US" sz="900" kern="1200" baseline="0" dirty="0">
                <a:solidFill>
                  <a:schemeClr val="tx1"/>
                </a:solidFill>
                <a:effectLst/>
                <a:latin typeface="+mn-lt"/>
                <a:ea typeface="+mn-ea"/>
                <a:cs typeface="+mn-cs"/>
              </a:rPr>
              <a:t>160,036 total entries</a:t>
            </a:r>
          </a:p>
          <a:p>
            <a:pPr lvl="1" rtl="0" fontAlgn="ctr"/>
            <a:r>
              <a:rPr lang="en-US" sz="900" kern="1200" baseline="0" dirty="0">
                <a:solidFill>
                  <a:schemeClr val="tx1"/>
                </a:solidFill>
                <a:effectLst/>
                <a:latin typeface="+mn-lt"/>
                <a:ea typeface="+mn-ea"/>
                <a:cs typeface="+mn-cs"/>
              </a:rPr>
              <a:t>40,009 entries each for SQL Plans, Object Plans, Bound Trees, Extended SPs</a:t>
            </a:r>
          </a:p>
          <a:p>
            <a:pPr lvl="1" rtl="0" fontAlgn="ctr"/>
            <a:endParaRPr lang="en-US" sz="900" kern="1200" baseline="0" dirty="0">
              <a:solidFill>
                <a:schemeClr val="tx1"/>
              </a:solidFill>
              <a:effectLst/>
              <a:latin typeface="+mn-lt"/>
              <a:ea typeface="+mn-ea"/>
              <a:cs typeface="+mn-cs"/>
            </a:endParaRPr>
          </a:p>
          <a:p>
            <a:r>
              <a:rPr lang="en-US" sz="1000" kern="1200" baseline="0" dirty="0">
                <a:solidFill>
                  <a:schemeClr val="tx1"/>
                </a:solidFill>
                <a:effectLst/>
                <a:latin typeface="+mn-lt"/>
                <a:ea typeface="+mn-ea"/>
                <a:cs typeface="+mn-cs"/>
              </a:rPr>
              <a:t>Heavy ad hoc workloads may fill up the SQL Plans bucket and result in SOS_CACHESTORE spinlock contention.</a:t>
            </a:r>
          </a:p>
          <a:p>
            <a:r>
              <a:rPr lang="en-US" sz="1000" kern="1200" baseline="0" dirty="0">
                <a:solidFill>
                  <a:schemeClr val="tx1"/>
                </a:solidFill>
                <a:effectLst/>
                <a:latin typeface="+mn-lt"/>
                <a:ea typeface="+mn-ea"/>
                <a:cs typeface="+mn-cs"/>
              </a:rPr>
              <a:t>This can be addressed with -T174 which increases the bucket count by 4X.</a:t>
            </a:r>
          </a:p>
          <a:p>
            <a:endParaRPr lang="en-US" sz="900" dirty="0"/>
          </a:p>
          <a:p>
            <a:pPr rtl="0" fontAlgn="ctr"/>
            <a:r>
              <a:rPr lang="en-US" sz="900" kern="1200" baseline="0" dirty="0">
                <a:solidFill>
                  <a:schemeClr val="tx1"/>
                </a:solidFill>
                <a:effectLst/>
                <a:latin typeface="+mn-lt"/>
                <a:ea typeface="+mn-ea"/>
                <a:cs typeface="+mn-cs"/>
              </a:rPr>
              <a:t>Maximum size the plan cache can reach:</a:t>
            </a:r>
          </a:p>
          <a:p>
            <a:pPr lvl="1"/>
            <a:r>
              <a:rPr lang="en-US" sz="900" kern="1200" baseline="0" dirty="0">
                <a:solidFill>
                  <a:schemeClr val="tx1"/>
                </a:solidFill>
                <a:effectLst/>
                <a:latin typeface="+mn-lt"/>
                <a:ea typeface="+mn-ea"/>
                <a:cs typeface="+mn-cs"/>
              </a:rPr>
              <a:t>75% of visible target memory from 0 to 4GB </a:t>
            </a:r>
          </a:p>
          <a:p>
            <a:pPr lvl="1"/>
            <a:r>
              <a:rPr lang="en-US" sz="900" kern="1200" baseline="0" dirty="0">
                <a:solidFill>
                  <a:schemeClr val="tx1"/>
                </a:solidFill>
                <a:effectLst/>
                <a:latin typeface="+mn-lt"/>
                <a:ea typeface="+mn-ea"/>
                <a:cs typeface="+mn-cs"/>
              </a:rPr>
              <a:t>+ 10% of visible target memory from 4GB to 64GB</a:t>
            </a:r>
          </a:p>
          <a:p>
            <a:pPr lvl="1"/>
            <a:r>
              <a:rPr lang="en-US" sz="900" kern="1200" baseline="0" dirty="0">
                <a:solidFill>
                  <a:schemeClr val="tx1"/>
                </a:solidFill>
                <a:effectLst/>
                <a:latin typeface="+mn-lt"/>
                <a:ea typeface="+mn-ea"/>
                <a:cs typeface="+mn-cs"/>
              </a:rPr>
              <a:t>+ 25% of visible target memory &gt; 64GB</a:t>
            </a:r>
          </a:p>
          <a:p>
            <a:pPr lvl="1"/>
            <a:endParaRPr lang="en-US" sz="900" kern="1200" baseline="0" dirty="0">
              <a:solidFill>
                <a:schemeClr val="tx1"/>
              </a:solidFill>
              <a:effectLst/>
              <a:latin typeface="+mn-lt"/>
              <a:ea typeface="+mn-ea"/>
              <a:cs typeface="+mn-cs"/>
            </a:endParaRPr>
          </a:p>
          <a:p>
            <a:r>
              <a:rPr lang="en-US" sz="900" kern="1200" baseline="0" dirty="0">
                <a:solidFill>
                  <a:schemeClr val="tx1"/>
                </a:solidFill>
                <a:effectLst/>
                <a:latin typeface="+mn-lt"/>
                <a:ea typeface="+mn-ea"/>
                <a:cs typeface="+mn-cs"/>
              </a:rPr>
              <a:t>The “Optimize for ad hoc workload” server configuration option helps control the cache size.</a:t>
            </a:r>
          </a:p>
          <a:p>
            <a:endParaRPr lang="en-US" sz="900" kern="1200" baseline="0" dirty="0">
              <a:solidFill>
                <a:schemeClr val="tx1"/>
              </a:solidFill>
              <a:effectLst/>
              <a:latin typeface="+mn-lt"/>
              <a:ea typeface="+mn-ea"/>
              <a:cs typeface="+mn-cs"/>
            </a:endParaRPr>
          </a:p>
          <a:p>
            <a:r>
              <a:rPr lang="en-US" sz="800" dirty="0"/>
              <a:t>When object plans are cached their compilation cost is noted.  Under memory pressure that value is decremented.  On plan reuse it is reset.</a:t>
            </a:r>
          </a:p>
          <a:p>
            <a:r>
              <a:rPr lang="en-US" sz="800" dirty="0"/>
              <a:t>Ad hoc plans are cached with a cost of 0.  This value is incremented on plan reuse.</a:t>
            </a:r>
          </a:p>
          <a:p>
            <a:r>
              <a:rPr lang="en-US" sz="800" dirty="0"/>
              <a:t>Plans that have a cost of 0 may be evicted from the cache.</a:t>
            </a:r>
          </a:p>
          <a:p>
            <a:pPr rtl="0" fontAlgn="ctr"/>
            <a:endParaRPr lang="en-US" sz="80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5107516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614971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 6:12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latin typeface="+mn-lt"/>
              </a:rPr>
              <a:t>Adaptive Query Processing: </a:t>
            </a:r>
            <a:r>
              <a:rPr kumimoji="0" lang="en-US" sz="1000" b="0" i="0" u="none" strike="noStrike" kern="1200" cap="none" spc="0" normalizeH="0" baseline="0" noProof="0" dirty="0">
                <a:ln>
                  <a:noFill/>
                </a:ln>
                <a:solidFill>
                  <a:srgbClr val="000000"/>
                </a:solidFill>
                <a:effectLst/>
                <a:uLnTx/>
                <a:uFillTx/>
                <a:latin typeface="+mn-lt"/>
                <a:ea typeface="+mn-ea"/>
                <a:cs typeface="+mn-cs"/>
              </a:rPr>
              <a:t>Addresses performance issues related to the cardinality estimation of an execution plan. These options can provide improved join type selection, row-calculations for Multi-Statement Table-Valued Functions, and memory allocation of row stor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daptive Joins:  </a:t>
            </a:r>
            <a:r>
              <a:rPr kumimoji="0" lang="en-US" sz="1000" b="0" i="0" u="none" strike="noStrike" kern="1200" cap="none" spc="0" normalizeH="0" baseline="0" noProof="0" dirty="0">
                <a:ln>
                  <a:noFill/>
                </a:ln>
                <a:solidFill>
                  <a:srgbClr val="000000"/>
                </a:solidFill>
                <a:effectLst/>
                <a:uLnTx/>
                <a:uFillTx/>
                <a:latin typeface="+mn-lt"/>
                <a:ea typeface="+mn-ea"/>
                <a:cs typeface="+mn-cs"/>
              </a:rPr>
              <a:t>This feature enables the choice of either the Hash or the Nested Loop join type.  Decision is deferred until statement execution. No need to use join hints in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latin typeface="+mn-lt"/>
              </a:rPr>
              <a:t>Interleaved Execution: </a:t>
            </a:r>
            <a:r>
              <a:rPr kumimoji="0" lang="en-US" sz="1000" b="0" i="0" u="none" strike="noStrike" kern="1200" cap="none" spc="0" normalizeH="0" baseline="0" noProof="0" dirty="0">
                <a:ln>
                  <a:noFill/>
                </a:ln>
                <a:solidFill>
                  <a:srgbClr val="000000"/>
                </a:solidFill>
                <a:effectLst/>
                <a:uLnTx/>
                <a:uFillTx/>
                <a:latin typeface="+mn-lt"/>
                <a:ea typeface="+mn-ea"/>
                <a:cs typeface="+mn-cs"/>
              </a:rPr>
              <a:t>Previously, when a Multi-Statement Table-Valued Function was executed, it used a fixed row estimate of 100 rows.  Now execution is paused so a better cardinality estimate can be captur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latin typeface="+mn-lt"/>
              </a:rPr>
              <a:t>Batch Mode Memory Grant Feedback: </a:t>
            </a:r>
            <a:r>
              <a:rPr kumimoji="0" lang="en-US" sz="1000" b="0" i="0" u="none" strike="noStrike" kern="1200" cap="none" spc="0" normalizeH="0" baseline="0" noProof="0" dirty="0">
                <a:ln>
                  <a:noFill/>
                </a:ln>
                <a:solidFill>
                  <a:srgbClr val="000000"/>
                </a:solidFill>
                <a:effectLst/>
                <a:uLnTx/>
                <a:uFillTx/>
                <a:latin typeface="Segoe UI"/>
                <a:ea typeface="+mn-ea"/>
                <a:cs typeface="+mn-cs"/>
              </a:rPr>
              <a:t>When compiling an execution plan, the query engine estimates how much memory is needed to store rows during join and sort operations. Too much memory allocation may impact performance of other operations. Not enough will cause a spill over to disk. This feature recalculates memory on first execution and updates the cached plan.</a:t>
            </a:r>
          </a:p>
          <a:p>
            <a:endParaRPr lang="en-US" b="1" dirty="0"/>
          </a:p>
          <a:p>
            <a:r>
              <a:rPr lang="en-US" b="1" dirty="0"/>
              <a:t>Further Reading: </a:t>
            </a:r>
            <a:r>
              <a:rPr lang="en-US" dirty="0"/>
              <a:t>https://docs.microsoft.com/en-us/sql/relational-databases/performance/intelligent-query-processing?view=sql-server-ver16</a:t>
            </a:r>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9614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intelligent query processing (IQP) </a:t>
            </a:r>
            <a:r>
              <a:rPr lang="en-US" b="0" i="0" dirty="0">
                <a:solidFill>
                  <a:srgbClr val="E6E6E6"/>
                </a:solidFill>
                <a:effectLst/>
                <a:latin typeface="Segoe UI" panose="020B0502040204020203" pitchFamily="34" charset="0"/>
              </a:rPr>
              <a:t>feature family includes features with broad impact that improve the performance of existing workloads with minimal implementation effort to adopt.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b="1" dirty="0">
              <a:latin typeface="+mn-lt"/>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latin typeface="+mn-lt"/>
              </a:rPr>
              <a:t>Row Mode Memory Grant Feedback: </a:t>
            </a:r>
            <a:r>
              <a:rPr lang="en-US" sz="2000" b="0" i="0" dirty="0">
                <a:solidFill>
                  <a:srgbClr val="E6E6E6"/>
                </a:solidFill>
                <a:effectLst/>
                <a:latin typeface="Segoe UI" panose="020B0502040204020203" pitchFamily="34" charset="0"/>
              </a:rPr>
              <a:t>If a row mode query has operations that spill to disk, add more memory for consecutive executions. If a query wastes &gt; 50% of the memory allocated to it, reduce the memory grant size for consecutive executions.</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0"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Table Variable Deferred Compilation: </a:t>
            </a:r>
            <a:r>
              <a:rPr kumimoji="0" lang="en-US" sz="2000" b="0" i="0" u="none" strike="noStrike" kern="1200" cap="none" spc="0" normalizeH="0" baseline="0" noProof="0" dirty="0">
                <a:ln>
                  <a:noFill/>
                </a:ln>
                <a:solidFill>
                  <a:srgbClr val="000000"/>
                </a:solidFill>
                <a:effectLst/>
                <a:uLnTx/>
                <a:uFillTx/>
                <a:latin typeface="Segoe UI"/>
                <a:ea typeface="+mn-ea"/>
                <a:cs typeface="+mn-cs"/>
              </a:rPr>
              <a:t>Queries that contain table variables will defer the compilation of the execution plan until the first execution of the query statement. This allows the execution plan to use the actual cardinality of the table variable instead of a one row guess.</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Batch Mode on Rowstore Indexes: </a:t>
            </a:r>
            <a:r>
              <a:rPr kumimoji="0" lang="en-US" sz="2000" b="0" i="0" u="none" strike="noStrike" kern="1200" cap="none" spc="0" normalizeH="0" baseline="0" noProof="0" dirty="0">
                <a:ln>
                  <a:noFill/>
                </a:ln>
                <a:solidFill>
                  <a:srgbClr val="000000"/>
                </a:solidFill>
                <a:effectLst/>
                <a:uLnTx/>
                <a:uFillTx/>
                <a:latin typeface="Segoe UI"/>
                <a:ea typeface="+mn-ea"/>
                <a:cs typeface="+mn-cs"/>
              </a:rPr>
              <a:t>Allows batch mode execution for analytic workloads without requiring columnstore indexes.</a:t>
            </a: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Scalar UDF Inlining: </a:t>
            </a:r>
            <a:r>
              <a:rPr kumimoji="0" lang="en-US" sz="2000" b="0" i="0" u="none" strike="noStrike" kern="1200" cap="none" spc="0" normalizeH="0" baseline="0" noProof="0" dirty="0">
                <a:ln>
                  <a:noFill/>
                </a:ln>
                <a:solidFill>
                  <a:srgbClr val="000000"/>
                </a:solidFill>
                <a:effectLst/>
                <a:uLnTx/>
                <a:uFillTx/>
                <a:latin typeface="Segoe UI"/>
                <a:ea typeface="+mn-ea"/>
                <a:cs typeface="+mn-cs"/>
              </a:rPr>
              <a:t>Scalar UDFs are automatically transformed into scalar expressions or scalar subqueries that are substituted in the calling query in place of the UDF operator.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Approximate Query Processing: </a:t>
            </a:r>
            <a:r>
              <a:rPr kumimoji="0" lang="en-US" sz="2000" b="0" i="0" u="none" strike="noStrike" kern="1200" cap="none" spc="0" normalizeH="0" baseline="0" noProof="0" dirty="0">
                <a:ln>
                  <a:noFill/>
                </a:ln>
                <a:solidFill>
                  <a:srgbClr val="000000"/>
                </a:solidFill>
                <a:effectLst/>
                <a:uLnTx/>
                <a:uFillTx/>
                <a:latin typeface="Segoe UI"/>
                <a:ea typeface="+mn-ea"/>
                <a:cs typeface="+mn-cs"/>
              </a:rPr>
              <a:t>Approximate Query Processing is a new feature family that will be used to aggregate large datasets where performance is more critical than absolute precision.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Approximate Count Distinct: </a:t>
            </a:r>
            <a:r>
              <a:rPr kumimoji="0" lang="en-US" sz="2000" b="0" i="0" u="none" strike="noStrike" kern="1200" cap="none" spc="0" normalizeH="0" baseline="0" noProof="0" dirty="0">
                <a:ln>
                  <a:noFill/>
                </a:ln>
                <a:solidFill>
                  <a:srgbClr val="000000"/>
                </a:solidFill>
                <a:effectLst/>
                <a:uLnTx/>
                <a:uFillTx/>
                <a:latin typeface="Segoe UI"/>
                <a:ea typeface="+mn-ea"/>
                <a:cs typeface="+mn-cs"/>
              </a:rPr>
              <a:t>A new aggregate function APPROX_COUNT_DISTINCT that returns the approximate number of unique non-null values in a group.</a:t>
            </a:r>
          </a:p>
          <a:p>
            <a:pPr marL="0" marR="0" lvl="0" indent="0" algn="l" defTabSz="914400" rtl="0" eaLnBrk="1" fontAlgn="auto" latinLnBrk="0" hangingPunct="1">
              <a:lnSpc>
                <a:spcPct val="90000"/>
              </a:lnSpc>
              <a:spcBef>
                <a:spcPts val="333"/>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dirty="0"/>
              <a:t>Further Reading: </a:t>
            </a:r>
            <a:r>
              <a:rPr lang="en-US" sz="2000" dirty="0"/>
              <a:t>https://docs.microsoft.com/en-us/sql/relational-databases/performance/intelligent-query-processing?view=sql-server-ver16</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7495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Memory Grant Feedback Persistence: </a:t>
            </a:r>
            <a:r>
              <a:rPr lang="en-US" b="0" i="0" dirty="0">
                <a:solidFill>
                  <a:srgbClr val="E6E6E6"/>
                </a:solidFill>
                <a:effectLst/>
                <a:latin typeface="Segoe UI" panose="020B0502040204020203" pitchFamily="34" charset="0"/>
              </a:rPr>
              <a:t>Provides new functionality to persist memory grant feedback. Requires Query Store to be enabled for the database and in READ_WRITE mode.</a:t>
            </a:r>
            <a:endParaRPr lang="en-US" b="0" dirty="0"/>
          </a:p>
          <a:p>
            <a:pPr lvl="0"/>
            <a:endParaRPr lang="en-US" b="1" dirty="0"/>
          </a:p>
          <a:p>
            <a:pPr lvl="0"/>
            <a:r>
              <a:rPr lang="en-US" b="1" dirty="0"/>
              <a:t>Memory Grant Feedback Percentile: </a:t>
            </a:r>
            <a:r>
              <a:rPr lang="en-US" dirty="0"/>
              <a:t>Smooths the grant size values based on execution usage history.</a:t>
            </a:r>
          </a:p>
          <a:p>
            <a:pPr lvl="0"/>
            <a:endParaRPr lang="en-US" dirty="0"/>
          </a:p>
          <a:p>
            <a:pPr lvl="0"/>
            <a:r>
              <a:rPr lang="en-US" b="1" dirty="0"/>
              <a:t>Cardinality Estimator Feedback: </a:t>
            </a:r>
            <a:r>
              <a:rPr lang="en-US" b="0" i="0" dirty="0">
                <a:solidFill>
                  <a:srgbClr val="E6E6E6"/>
                </a:solidFill>
                <a:effectLst/>
                <a:latin typeface="Segoe UI" panose="020B0502040204020203" pitchFamily="34" charset="0"/>
              </a:rPr>
              <a:t>Automatically adjusts cardinality estimates for repeating queries to optimize workloads where inefficient CE assumptions cause poor query performance. CE feedback will identify and use a model assumption that better fits a given query and data distribution to improve query execution plan quality.</a:t>
            </a: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DOP Feedback: </a:t>
            </a:r>
            <a:r>
              <a:rPr lang="en-US" b="0" i="0" dirty="0">
                <a:solidFill>
                  <a:srgbClr val="E6E6E6"/>
                </a:solidFill>
                <a:effectLst/>
                <a:latin typeface="Segoe UI" panose="020B0502040204020203" pitchFamily="34" charset="0"/>
              </a:rPr>
              <a:t>Automatically adjusts degree of parallelism for repeating queries to optimize for workloads where inefficient parallelism can cause performance issues. Requires Query Store to be enabled.</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6E6E6"/>
                </a:solidFill>
                <a:effectLst/>
                <a:latin typeface="Segoe UI" panose="020B0502040204020203" pitchFamily="34" charset="0"/>
              </a:rPr>
              <a:t>Optimized Plan Forcing: </a:t>
            </a:r>
            <a:r>
              <a:rPr lang="en-US" b="0" i="0" dirty="0">
                <a:solidFill>
                  <a:srgbClr val="E6E6E6"/>
                </a:solidFill>
                <a:effectLst/>
                <a:latin typeface="Segoe UI" panose="020B0502040204020203" pitchFamily="34" charset="0"/>
              </a:rPr>
              <a:t>Reduces compilation overhead for repeating forced queries. For more information, see </a:t>
            </a:r>
            <a:r>
              <a:rPr lang="en-US" b="0" i="0" u="none" strike="noStrike" dirty="0">
                <a:effectLst/>
                <a:latin typeface="Segoe UI" panose="020B0502040204020203" pitchFamily="34" charset="0"/>
                <a:hlinkClick r:id="rId3"/>
              </a:rPr>
              <a:t>Optimized plan forcing with Query Store</a:t>
            </a:r>
            <a:r>
              <a:rPr lang="en-US" b="0" i="0" dirty="0">
                <a:solidFill>
                  <a:srgbClr val="E6E6E6"/>
                </a:solidFill>
                <a:effectLst/>
                <a:latin typeface="Segoe UI" panose="020B0502040204020203" pitchFamily="34" charset="0"/>
              </a:rPr>
              <a:t>.</a:t>
            </a:r>
            <a:endParaRPr lang="en-US"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6E6E6"/>
                </a:solidFill>
                <a:effectLst/>
                <a:latin typeface="Segoe UI" panose="020B0502040204020203" pitchFamily="34" charset="0"/>
              </a:rPr>
              <a:t>Parameter Sensitive Plan Optimization: </a:t>
            </a:r>
            <a:r>
              <a:rPr lang="en-US" b="0" i="0" dirty="0">
                <a:solidFill>
                  <a:srgbClr val="E6E6E6"/>
                </a:solidFill>
                <a:effectLst/>
                <a:latin typeface="Segoe UI" panose="020B0502040204020203" pitchFamily="34" charset="0"/>
              </a:rPr>
              <a:t>Parameter Sensitivity Plan Optimization addresses the scenario where a single cached plan for a parameterized query is not optimal for all possible incoming parameter values, for example non-uniform data distributions.</a:t>
            </a: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Further Reading: </a:t>
            </a:r>
            <a:r>
              <a:rPr lang="en-US" dirty="0"/>
              <a:t>https://docs.microsoft.com/en-us/sql/relational-databases/performance/intelligent-query-processing?view=sql-server-ver16</a:t>
            </a:r>
          </a:p>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70663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MV – proc level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uery to show contents by typ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2864467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cached_plans</a:t>
            </a:r>
            <a:endParaRPr lang="en-US" dirty="0"/>
          </a:p>
          <a:p>
            <a:r>
              <a:rPr lang="en-US" dirty="0">
                <a:hlinkClick r:id="rId3"/>
              </a:rPr>
              <a:t>https://docs.microsoft.com/en-us/sql/relational-databases/system-dynamic-management-views/sys-dm-exec-cached-plan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stats</a:t>
            </a:r>
            <a:endParaRPr lang="en-US" dirty="0"/>
          </a:p>
          <a:p>
            <a:r>
              <a:rPr lang="en-US" dirty="0">
                <a:hlinkClick r:id="rId4"/>
              </a:rPr>
              <a:t>https://docs.microsoft.com/en-us/sql/relational-databases/system-dynamic-management-views/sys-dm-exec-query-stat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In addition to query-stats, consider the following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procedure_stats</a:t>
            </a:r>
            <a:endParaRPr lang="en-US" dirty="0"/>
          </a:p>
          <a:p>
            <a:r>
              <a:rPr lang="en-US" dirty="0">
                <a:hlinkClick r:id="rId5"/>
              </a:rPr>
              <a:t>https://docs.microsoft.com/en-us/sql/relational-databases/system-dynamic-management-views/sys-dm-exec-procedure-stats-transact-sql?view=sql-server-ver15</a:t>
            </a:r>
            <a:endParaRPr lang="en-US" dirty="0"/>
          </a:p>
          <a:p>
            <a:r>
              <a:rPr lang="en-US" dirty="0"/>
              <a:t>sys.dm_exec_trigger_stats</a:t>
            </a:r>
          </a:p>
          <a:p>
            <a:r>
              <a:rPr lang="en-US" dirty="0"/>
              <a:t>https://docs.microsoft.com/en-us/sql/relational-databases/system-dynamic-management-views/sys-dm-exec-trigger-stats-transact-sql?view=sql-server-ver15  </a:t>
            </a:r>
          </a:p>
          <a:p>
            <a:r>
              <a:rPr lang="en-US" dirty="0"/>
              <a:t>sys.dm_exec_function_stats</a:t>
            </a:r>
          </a:p>
          <a:p>
            <a:r>
              <a:rPr lang="en-US" dirty="0"/>
              <a:t>https://docs.microsoft.com/en-us/sql/relational-databases/system-dynamic-management-views/sys-dm-exec-function-stats-transact-sql?view=sql-server-ver15</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plan()</a:t>
            </a:r>
            <a:endParaRPr lang="en-US" dirty="0"/>
          </a:p>
          <a:p>
            <a:r>
              <a:rPr lang="en-US" dirty="0">
                <a:hlinkClick r:id="rId6"/>
              </a:rPr>
              <a:t>https://docs.microsoft.com/en-us/sql/relational-databases/system-dynamic-management-views/sys-dm-exec-query-plan-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sql_text()</a:t>
            </a:r>
            <a:endParaRPr lang="en-US" dirty="0"/>
          </a:p>
          <a:p>
            <a:r>
              <a:rPr lang="en-US" dirty="0">
                <a:hlinkClick r:id="rId7"/>
              </a:rPr>
              <a:t>https://docs.microsoft.com/en-us/sql/relational-databases/system-dynamic-management-views/sys-dm-exec-sql-text-transact-sql?view=sql-server-ver15</a:t>
            </a:r>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228339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complete list see the sys.dm_exec_query_stats documentation:</a:t>
            </a:r>
          </a:p>
          <a:p>
            <a:r>
              <a:rPr lang="en-US" dirty="0">
                <a:hlinkClick r:id="rId3"/>
              </a:rPr>
              <a:t>https://docs.microsoft.com/en-us/sql/relational-databases/system-dynamic-management-views/sys-dm-exec-query-stats-transact-sql?view=sql-server-ver15</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4188044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00FF00"/>
                </a:solidFill>
                <a:latin typeface="Consolas" panose="020B0609020204030204" pitchFamily="49" charset="0"/>
              </a:rPr>
              <a:t>sys</a:t>
            </a:r>
            <a:r>
              <a:rPr lang="en-US" sz="900" dirty="0">
                <a:solidFill>
                  <a:srgbClr val="808080"/>
                </a:solidFill>
                <a:latin typeface="Consolas" panose="020B0609020204030204" pitchFamily="49" charset="0"/>
              </a:rPr>
              <a:t>.</a:t>
            </a:r>
            <a:r>
              <a:rPr lang="en-US" sz="900" dirty="0">
                <a:solidFill>
                  <a:srgbClr val="00FF00"/>
                </a:solidFill>
                <a:latin typeface="Consolas" panose="020B0609020204030204" pitchFamily="49" charset="0"/>
              </a:rPr>
              <a:t>dm_exec_sql_text() returns all the SQL statements in a batch.</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The offset values from sys.dm_exec_query_stats are used to pick out the specific statement to which the plan and query stats apply.</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Vary the ORDER BY statement in the displayed query to identify the TOP 10 queries by other measures:</a:t>
            </a:r>
          </a:p>
          <a:p>
            <a:pPr marL="171450" indent="-171450">
              <a:buFont typeface="Arial" panose="020B0604020202020204" pitchFamily="34" charset="0"/>
              <a:buChar cha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000000"/>
                </a:solidFill>
                <a:latin typeface="Consolas" panose="020B0609020204030204" pitchFamily="49" charset="0"/>
              </a:rPr>
              <a:t>execution_coun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logical_reads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total_worker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elapsed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i="1" dirty="0">
                <a:solidFill>
                  <a:srgbClr val="000000"/>
                </a:solidFill>
                <a:latin typeface="Consolas" panose="020B0609020204030204" pitchFamily="49" charset="0"/>
              </a:rPr>
              <a:t>Etc.</a:t>
            </a:r>
            <a:endParaRPr lang="en-US" sz="900" i="1" dirty="0">
              <a:solidFill>
                <a:srgbClr val="00FF00"/>
              </a:solidFill>
              <a:latin typeface="Consolas" panose="020B0609020204030204" pitchFamily="49" charset="0"/>
            </a:endParaRPr>
          </a:p>
          <a:p>
            <a:endParaRPr lang="en-US" sz="900" dirty="0">
              <a:solidFill>
                <a:srgbClr val="00FF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57812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mize for ad hoc workloads Server Configuration Option</a:t>
            </a:r>
          </a:p>
          <a:p>
            <a:r>
              <a:rPr lang="en-US" dirty="0">
                <a:hlinkClick r:id="rId3"/>
              </a:rPr>
              <a:t>https://docs.microsoft.com/en-us/sql/database-engine/configure-windows/optimize-for-ad-hoc-workloads-server-configuration-option?view=sql-server-ver15</a:t>
            </a:r>
            <a:endParaRPr lang="en-US" dirty="0"/>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optimize for ad hoc workloads</a:t>
            </a:r>
            <a:r>
              <a:rPr lang="en-US" sz="882" b="0" i="0" kern="1200" baseline="0" dirty="0">
                <a:solidFill>
                  <a:schemeClr val="tx1"/>
                </a:solidFill>
                <a:effectLst/>
                <a:latin typeface="+mn-lt"/>
                <a:ea typeface="+mn-ea"/>
                <a:cs typeface="+mn-cs"/>
              </a:rPr>
              <a:t> option is used to improve the efficiency of the plan cache for workloads that contain many single use ad hoc batches. When this option is set to 1, the Database Engine stores a small compiled plan stub in the plan cache when a batch is compiled for the first time, instead of the full compiled plan. This helps to relieve memory pressure by not allowing the plan cache to become filled with compiled plans that are not reused.</a:t>
            </a:r>
          </a:p>
          <a:p>
            <a:r>
              <a:rPr lang="en-US" sz="882" b="0" i="0" kern="1200" baseline="0" dirty="0">
                <a:solidFill>
                  <a:schemeClr val="tx1"/>
                </a:solidFill>
                <a:effectLst/>
                <a:latin typeface="+mn-lt"/>
                <a:ea typeface="+mn-ea"/>
                <a:cs typeface="+mn-cs"/>
              </a:rPr>
              <a:t>The compiled plan stub allows the Database Engine to recognize that this ad hoc batch has been compiled before but has only stored a compiled plan stub, so when this batch is invoked (compiled or executed) again, the Database Engine compiles the batch, removes the compiled plan stub from the plan cache, and adds the full compiled plan to the plan cache.</a:t>
            </a:r>
          </a:p>
          <a:p>
            <a:br>
              <a:rPr lang="en-US" dirty="0"/>
            </a:br>
            <a:r>
              <a:rPr lang="en-US" sz="882" b="0" i="0" kern="1200" baseline="0" dirty="0">
                <a:solidFill>
                  <a:schemeClr val="tx1"/>
                </a:solidFill>
                <a:effectLst/>
                <a:latin typeface="+mn-lt"/>
                <a:ea typeface="+mn-ea"/>
                <a:cs typeface="+mn-cs"/>
              </a:rPr>
              <a:t>Avoid having a large number of single-use plans in the plan cache. A common cause of this problem is when the </a:t>
            </a:r>
            <a:r>
              <a:rPr lang="en-US" sz="882" b="1" i="0" kern="1200" baseline="0" dirty="0">
                <a:solidFill>
                  <a:schemeClr val="tx1"/>
                </a:solidFill>
                <a:effectLst/>
                <a:latin typeface="+mn-lt"/>
                <a:ea typeface="+mn-ea"/>
                <a:cs typeface="+mn-cs"/>
              </a:rPr>
              <a:t>data types of query parameters</a:t>
            </a:r>
            <a:r>
              <a:rPr lang="en-US" sz="882" b="0" i="0" kern="1200" baseline="0" dirty="0">
                <a:solidFill>
                  <a:schemeClr val="tx1"/>
                </a:solidFill>
                <a:effectLst/>
                <a:latin typeface="+mn-lt"/>
                <a:ea typeface="+mn-ea"/>
                <a:cs typeface="+mn-cs"/>
              </a:rPr>
              <a:t> is not consistently defined. This particularly applies to the length of strings but can apply to any data type that has a maxlength, a precision, or a scale. For example, if a parameter named @Greeting is passed as an nvarchar(10) on one call and an nvarchar(20) on the next call, separate plans are created for each parameter size. If a query has several parameters and they are not consistently defined when called, a large number of query plans could exist for each query. Plans could exist for each combination of query parameter data types and lengths that have been us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9851552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07462CF8-828D-1AEB-B3C0-6D3C2F2C2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21453963"/>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61863A04-4C5E-EA27-73AB-F78D958DE11C}"/>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493528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DC2A1DFC-34AA-AB30-90B8-0F31D640B806}"/>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66299061"/>
      </p:ext>
    </p:extLst>
  </p:cSld>
  <p:clrMapOvr>
    <a:masterClrMapping/>
  </p:clrMapOvr>
  <p:hf sldNum="0"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ACCD2C7F-CA2A-C008-7993-9044154B15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5448852"/>
      </p:ext>
    </p:extLst>
  </p:cSld>
  <p:clrMapOvr>
    <a:masterClrMapping/>
  </p:clrMapOvr>
  <p:hf sldNum="0"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4195029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85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6240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p>
            <a:fld id="{4509A250-FF31-4206-8172-F9D3106AACB1}" type="datetimeFigureOut">
              <a:rPr lang="en-US" dirty="0"/>
              <a:t>1/2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34615584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93196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0300354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2226509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569505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B774E-406D-2423-71FD-7953804F5866}"/>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BA535DF6-3BAE-F222-FCEC-CAB606473965}"/>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5F1C9-D1BF-A4DB-91EF-2FCB32DD179D}"/>
              </a:ext>
            </a:extLst>
          </p:cNvPr>
          <p:cNvSpPr>
            <a:spLocks noGrp="1"/>
          </p:cNvSpPr>
          <p:nvPr>
            <p:ph type="dt" sz="half" idx="10"/>
          </p:nvPr>
        </p:nvSpPr>
        <p:spPr/>
        <p:txBody>
          <a:bodyPr/>
          <a:lstStyle/>
          <a:p>
            <a:fld id="{C612AF5C-768F-4448-8BB7-4AAB16B11D83}" type="datetimeFigureOut">
              <a:rPr lang="en-US" smtClean="0"/>
              <a:t>1/20/2024</a:t>
            </a:fld>
            <a:endParaRPr lang="en-US"/>
          </a:p>
        </p:txBody>
      </p:sp>
      <p:sp>
        <p:nvSpPr>
          <p:cNvPr id="5" name="Footer Placeholder 4">
            <a:extLst>
              <a:ext uri="{FF2B5EF4-FFF2-40B4-BE49-F238E27FC236}">
                <a16:creationId xmlns:a16="http://schemas.microsoft.com/office/drawing/2014/main" id="{541DE9EE-A56E-0749-6CF2-AF13323397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E7C5A1-58B8-F2E5-8DE7-3B05F710B0EA}"/>
              </a:ext>
            </a:extLst>
          </p:cNvPr>
          <p:cNvSpPr>
            <a:spLocks noGrp="1"/>
          </p:cNvSpPr>
          <p:nvPr>
            <p:ph type="sldNum" sz="quarter" idx="12"/>
          </p:nvPr>
        </p:nvSpPr>
        <p:spPr/>
        <p:txBody>
          <a:bodyPr/>
          <a:lstStyle/>
          <a:p>
            <a:fld id="{9DC36228-8751-4DE5-A139-90D1A8EBBD18}" type="slidenum">
              <a:rPr lang="en-US" smtClean="0"/>
              <a:t>‹#›</a:t>
            </a:fld>
            <a:endParaRPr lang="en-US"/>
          </a:p>
        </p:txBody>
      </p:sp>
    </p:spTree>
    <p:extLst>
      <p:ext uri="{BB962C8B-B14F-4D97-AF65-F5344CB8AC3E}">
        <p14:creationId xmlns:p14="http://schemas.microsoft.com/office/powerpoint/2010/main" val="1625514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1723046"/>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44486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161480"/>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674434046"/>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566656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7596445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39805886"/>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2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2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2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2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04472E61-8EEC-9099-4C05-0E7DE2802B4C}"/>
              </a:ext>
              <a:ext uri="{C183D7F6-B498-43B3-948B-1728B52AA6E4}">
                <adec:decorative xmlns:adec="http://schemas.microsoft.com/office/drawing/2017/decorative" val="1"/>
              </a:ext>
            </a:extLst>
          </p:cNvPr>
          <p:cNvSpPr/>
          <p:nvPr userDrawn="1">
            <p:custDataLst>
              <p:tags r:id="rId2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EEA6D12D-2715-BE62-C597-699C002E54AE}"/>
              </a:ext>
            </a:extLst>
          </p:cNvPr>
          <p:cNvSpPr/>
          <p:nvPr userDrawn="1">
            <p:custDataLst>
              <p:tags r:id="rId2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216960"/>
      </p:ext>
    </p:extLst>
  </p:cSld>
  <p:clrMap bg1="lt1" tx1="dk1" bg2="lt2" tx2="dk2" accent1="accent1" accent2="accent2" accent3="accent3" accent4="accent4" accent5="accent5" accent6="accent6" hlink="hlink" folHlink="folHlink"/>
  <p:sldLayoutIdLst>
    <p:sldLayoutId id="2147483764" r:id="rId1"/>
    <p:sldLayoutId id="2147483767" r:id="rId2"/>
    <p:sldLayoutId id="2147483768" r:id="rId3"/>
    <p:sldLayoutId id="2147483769" r:id="rId4"/>
    <p:sldLayoutId id="2147483771" r:id="rId5"/>
    <p:sldLayoutId id="2147483773" r:id="rId6"/>
    <p:sldLayoutId id="2147483775" r:id="rId7"/>
    <p:sldLayoutId id="2147483779" r:id="rId8"/>
    <p:sldLayoutId id="2147483783" r:id="rId9"/>
    <p:sldLayoutId id="2147483795"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744" r:id="rId20"/>
    <p:sldLayoutId id="2147483855" r:id="rId2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5699054"/>
      </p:ext>
    </p:extLst>
  </p:cSld>
  <p:clrMap bg1="lt1" tx1="dk1" bg2="lt2" tx2="dk2" accent1="accent1" accent2="accent2" accent3="accent3" accent4="accent4" accent5="accent5" accent6="accent6" hlink="hlink" folHlink="folHlink"/>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8.xml"/><Relationship Id="rId7" Type="http://schemas.microsoft.com/office/2007/relationships/diagramDrawing" Target="../diagrams/drawing8.xml"/><Relationship Id="rId12"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8.xml"/><Relationship Id="rId11" Type="http://schemas.openxmlformats.org/officeDocument/2006/relationships/image" Target="../media/image10.png"/><Relationship Id="rId5" Type="http://schemas.openxmlformats.org/officeDocument/2006/relationships/diagramQuickStyle" Target="../diagrams/quickStyle8.xml"/><Relationship Id="rId10" Type="http://schemas.openxmlformats.org/officeDocument/2006/relationships/image" Target="../media/image9.png"/><Relationship Id="rId4" Type="http://schemas.openxmlformats.org/officeDocument/2006/relationships/diagramLayout" Target="../diagrams/layout8.xml"/><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13.xml"/><Relationship Id="rId4" Type="http://schemas.openxmlformats.org/officeDocument/2006/relationships/image" Target="../media/image13.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4.jpeg"/><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4.png"/><Relationship Id="rId2" Type="http://schemas.openxmlformats.org/officeDocument/2006/relationships/customXml" Target="../../customXml/item10.xml"/><Relationship Id="rId1" Type="http://schemas.openxmlformats.org/officeDocument/2006/relationships/tags" Target="../tags/tag16.x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17.xml"/></Relationships>
</file>

<file path=ppt/slides/_rels/slide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3.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3.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11.x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6.png"/><Relationship Id="rId4" Type="http://schemas.openxmlformats.org/officeDocument/2006/relationships/notesSlide" Target="../notesSlides/notesSlide3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4.jpeg"/><Relationship Id="rId4" Type="http://schemas.openxmlformats.org/officeDocument/2006/relationships/notesSlide" Target="../notesSlides/notesSlide3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4.jpeg"/><Relationship Id="rId4" Type="http://schemas.openxmlformats.org/officeDocument/2006/relationships/notesSlide" Target="../notesSlides/notesSlide3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4.png"/><Relationship Id="rId2" Type="http://schemas.openxmlformats.org/officeDocument/2006/relationships/customXml" Target="../../customXml/item12.xml"/><Relationship Id="rId1" Type="http://schemas.openxmlformats.org/officeDocument/2006/relationships/tags" Target="../tags/tag24.xml"/><Relationship Id="rId6" Type="http://schemas.openxmlformats.org/officeDocument/2006/relationships/notesSlide" Target="../notesSlides/notesSlide40.xml"/><Relationship Id="rId5" Type="http://schemas.openxmlformats.org/officeDocument/2006/relationships/slideLayout" Target="../slideLayouts/slideLayout3.xml"/><Relationship Id="rId4" Type="http://schemas.openxmlformats.org/officeDocument/2006/relationships/tags" Target="../tags/tag25.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3.xml"/><Relationship Id="rId1" Type="http://schemas.openxmlformats.org/officeDocument/2006/relationships/slideLayout" Target="../slideLayouts/slideLayout17.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4.xml"/><Relationship Id="rId1" Type="http://schemas.openxmlformats.org/officeDocument/2006/relationships/slideLayout" Target="../slideLayouts/slideLayout17.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5.xml"/><Relationship Id="rId1" Type="http://schemas.openxmlformats.org/officeDocument/2006/relationships/slideLayout" Target="../slideLayouts/slideLayout17.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4.jpeg"/><Relationship Id="rId4" Type="http://schemas.openxmlformats.org/officeDocument/2006/relationships/notesSlide" Target="../notesSlides/notesSlide4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Plan Caching and Query Sto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8</a:t>
            </a:r>
            <a:endParaRPr lang="en-US" dirty="0"/>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8220-D8B1-49CC-9566-02F4E21AEB39}"/>
              </a:ext>
            </a:extLst>
          </p:cNvPr>
          <p:cNvSpPr>
            <a:spLocks noGrp="1"/>
          </p:cNvSpPr>
          <p:nvPr>
            <p:ph type="title"/>
          </p:nvPr>
        </p:nvSpPr>
        <p:spPr/>
        <p:txBody>
          <a:bodyPr/>
          <a:lstStyle/>
          <a:p>
            <a:r>
              <a:rPr lang="en-US" dirty="0"/>
              <a:t>Captured Metrics (sys.dm_exec_query_stats ) </a:t>
            </a:r>
          </a:p>
        </p:txBody>
      </p:sp>
      <p:graphicFrame>
        <p:nvGraphicFramePr>
          <p:cNvPr id="6" name="Content Placeholder 5">
            <a:extLst>
              <a:ext uri="{FF2B5EF4-FFF2-40B4-BE49-F238E27FC236}">
                <a16:creationId xmlns:a16="http://schemas.microsoft.com/office/drawing/2014/main" id="{5B8AE85A-49AB-4B7D-B64D-F4C588116D35}"/>
              </a:ext>
            </a:extLst>
          </p:cNvPr>
          <p:cNvGraphicFramePr>
            <a:graphicFrameLocks noGrp="1"/>
          </p:cNvGraphicFramePr>
          <p:nvPr>
            <p:ph sz="quarter" idx="13"/>
            <p:extLst>
              <p:ext uri="{D42A27DB-BD31-4B8C-83A1-F6EECF244321}">
                <p14:modId xmlns:p14="http://schemas.microsoft.com/office/powerpoint/2010/main" val="3641679145"/>
              </p:ext>
            </p:extLst>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a:extLst>
              <a:ext uri="{FF2B5EF4-FFF2-40B4-BE49-F238E27FC236}">
                <a16:creationId xmlns:a16="http://schemas.microsoft.com/office/drawing/2014/main" id="{07B58EF0-D344-4EB4-BD4B-728143E8897D}"/>
              </a:ext>
            </a:extLst>
          </p:cNvPr>
          <p:cNvGraphicFramePr>
            <a:graphicFrameLocks noGrp="1"/>
          </p:cNvGraphicFramePr>
          <p:nvPr>
            <p:ph sz="quarter" idx="14"/>
            <p:extLst>
              <p:ext uri="{D42A27DB-BD31-4B8C-83A1-F6EECF244321}">
                <p14:modId xmlns:p14="http://schemas.microsoft.com/office/powerpoint/2010/main" val="2570305663"/>
              </p:ext>
            </p:extLst>
          </p:nvPr>
        </p:nvGraphicFramePr>
        <p:xfrm>
          <a:off x="6257926" y="1408113"/>
          <a:ext cx="5284785"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Box 2">
            <a:extLst>
              <a:ext uri="{FF2B5EF4-FFF2-40B4-BE49-F238E27FC236}">
                <a16:creationId xmlns:a16="http://schemas.microsoft.com/office/drawing/2014/main" id="{3A8BC14F-2D98-4C89-B913-E0613170CAB5}"/>
              </a:ext>
            </a:extLst>
          </p:cNvPr>
          <p:cNvSpPr txBox="1"/>
          <p:nvPr/>
        </p:nvSpPr>
        <p:spPr>
          <a:xfrm>
            <a:off x="3314699" y="6335357"/>
            <a:ext cx="5562600" cy="307777"/>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ompute Average:  Avg = Total / Execution count</a:t>
            </a:r>
          </a:p>
        </p:txBody>
      </p:sp>
      <p:sp>
        <p:nvSpPr>
          <p:cNvPr id="8" name="Subtitle 2">
            <a:extLst>
              <a:ext uri="{FF2B5EF4-FFF2-40B4-BE49-F238E27FC236}">
                <a16:creationId xmlns:a16="http://schemas.microsoft.com/office/drawing/2014/main" id="{90108884-1DBA-4B16-BD7E-E94DE6853026}"/>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000" dirty="0"/>
              <a:t>Partial listing</a:t>
            </a:r>
          </a:p>
        </p:txBody>
      </p:sp>
    </p:spTree>
    <p:extLst>
      <p:ext uri="{BB962C8B-B14F-4D97-AF65-F5344CB8AC3E}">
        <p14:creationId xmlns:p14="http://schemas.microsoft.com/office/powerpoint/2010/main" val="2531563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1D056E-9049-4CA3-BF1F-DC2B7508DAAB}"/>
              </a:ext>
            </a:extLst>
          </p:cNvPr>
          <p:cNvSpPr/>
          <p:nvPr/>
        </p:nvSpPr>
        <p:spPr bwMode="auto">
          <a:xfrm>
            <a:off x="1101374" y="4678405"/>
            <a:ext cx="6735571" cy="381897"/>
          </a:xfrm>
          <a:prstGeom prst="rect">
            <a:avLst/>
          </a:prstGeom>
          <a:solidFill>
            <a:srgbClr val="FEF00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17A8A069-1E02-4EF1-915C-021D16EEB7E0}"/>
              </a:ext>
            </a:extLst>
          </p:cNvPr>
          <p:cNvSpPr>
            <a:spLocks noGrp="1"/>
          </p:cNvSpPr>
          <p:nvPr>
            <p:ph type="title"/>
          </p:nvPr>
        </p:nvSpPr>
        <p:spPr>
          <a:xfrm>
            <a:off x="655638" y="303711"/>
            <a:ext cx="10880725" cy="461665"/>
          </a:xfrm>
        </p:spPr>
        <p:txBody>
          <a:bodyPr/>
          <a:lstStyle/>
          <a:p>
            <a:r>
              <a:rPr lang="en-US" dirty="0"/>
              <a:t>Mining the Plan Cache with T-SQL</a:t>
            </a:r>
          </a:p>
        </p:txBody>
      </p:sp>
      <p:sp>
        <p:nvSpPr>
          <p:cNvPr id="3" name="Subtitle 2">
            <a:extLst>
              <a:ext uri="{FF2B5EF4-FFF2-40B4-BE49-F238E27FC236}">
                <a16:creationId xmlns:a16="http://schemas.microsoft.com/office/drawing/2014/main" id="{240C0451-E3AC-45B7-8F9F-0534A6FA7219}"/>
              </a:ext>
            </a:extLst>
          </p:cNvPr>
          <p:cNvSpPr>
            <a:spLocks noGrp="1"/>
          </p:cNvSpPr>
          <p:nvPr>
            <p:ph type="subTitle" idx="1"/>
          </p:nvPr>
        </p:nvSpPr>
        <p:spPr/>
        <p:txBody>
          <a:bodyPr/>
          <a:lstStyle/>
          <a:p>
            <a:r>
              <a:rPr lang="en-US" dirty="0"/>
              <a:t>Top 10 plans by logical reads</a:t>
            </a:r>
          </a:p>
        </p:txBody>
      </p:sp>
      <p:sp>
        <p:nvSpPr>
          <p:cNvPr id="7" name="Rectangle 6">
            <a:extLst>
              <a:ext uri="{FF2B5EF4-FFF2-40B4-BE49-F238E27FC236}">
                <a16:creationId xmlns:a16="http://schemas.microsoft.com/office/drawing/2014/main" id="{3347287B-EEB8-4B84-ADF1-D7050BAA2A15}"/>
              </a:ext>
            </a:extLst>
          </p:cNvPr>
          <p:cNvSpPr/>
          <p:nvPr/>
        </p:nvSpPr>
        <p:spPr>
          <a:xfrm>
            <a:off x="595765" y="1550576"/>
            <a:ext cx="11530921" cy="4401205"/>
          </a:xfrm>
          <a:prstGeom prst="rect">
            <a:avLst/>
          </a:prstGeom>
          <a:ln>
            <a:solidFill>
              <a:schemeClr val="accent1"/>
            </a:solidFill>
          </a:ln>
        </p:spPr>
        <p:txBody>
          <a:bodyPr wrap="square">
            <a:spAutoFit/>
          </a:bodyPr>
          <a:lstStyle/>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dbi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32767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resourcedb'</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NA'</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DB_NAM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dbid</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databas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OBJECT_NAM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objecti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object_name</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BSTRIN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tex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start_offse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end_offse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DATALENGTH</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tex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end_offset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start_offse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ql_stateme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exec_cou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read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CPU_m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time_m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write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p</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uery_plan</a:t>
            </a:r>
          </a:p>
          <a:p>
            <a:r>
              <a:rPr lang="en-US" sz="1400" dirty="0">
                <a:solidFill>
                  <a:srgbClr val="0000FF"/>
                </a:solidFill>
                <a:latin typeface="Consolas" panose="020B0609020204030204" pitchFamily="49" charset="0"/>
              </a:rPr>
              <a:t>FROM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OP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ement_start_offse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ement_end_offse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execution_coun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exec_coun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total_worker_time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0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CPU_m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elapsed_time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0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time_m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gt;</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THE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logical_read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total_logical_writes </a:t>
            </a:r>
            <a:r>
              <a:rPr lang="en-US" sz="1400" dirty="0">
                <a:solidFill>
                  <a:srgbClr val="808080"/>
                </a:solidFill>
                <a:latin typeface="Consolas" panose="020B0609020204030204" pitchFamily="49" charset="0"/>
              </a:rPr>
              <a:t>&gt;</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THE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write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logical_writes</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query_stats</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ORDER</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SC</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qs</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CROSS</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PPLY</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sql_tex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CROSS</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PPLY</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query_pla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p</a:t>
            </a:r>
          </a:p>
          <a:p>
            <a:r>
              <a:rPr lang="en-US" sz="1400" dirty="0">
                <a:solidFill>
                  <a:srgbClr val="0000FF"/>
                </a:solidFill>
                <a:latin typeface="Consolas" panose="020B0609020204030204" pitchFamily="49" charset="0"/>
              </a:rPr>
              <a:t>ORDER</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reads </a:t>
            </a:r>
            <a:r>
              <a:rPr lang="en-US" sz="1400" dirty="0">
                <a:solidFill>
                  <a:srgbClr val="0000FF"/>
                </a:solidFill>
                <a:latin typeface="Consolas" panose="020B0609020204030204" pitchFamily="49" charset="0"/>
              </a:rPr>
              <a:t>DESC</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OPTIO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COMPIL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p>
        </p:txBody>
      </p:sp>
      <p:pic>
        <p:nvPicPr>
          <p:cNvPr id="4" name="Picture 3">
            <a:extLst>
              <a:ext uri="{FF2B5EF4-FFF2-40B4-BE49-F238E27FC236}">
                <a16:creationId xmlns:a16="http://schemas.microsoft.com/office/drawing/2014/main" id="{6F3C3E11-95F5-45C5-B490-A924262C6B18}"/>
              </a:ext>
            </a:extLst>
          </p:cNvPr>
          <p:cNvPicPr>
            <a:picLocks noChangeAspect="1"/>
          </p:cNvPicPr>
          <p:nvPr/>
        </p:nvPicPr>
        <p:blipFill>
          <a:blip r:embed="rId3"/>
          <a:stretch>
            <a:fillRect/>
          </a:stretch>
        </p:blipFill>
        <p:spPr>
          <a:xfrm>
            <a:off x="1006474" y="2451455"/>
            <a:ext cx="10880725" cy="2226950"/>
          </a:xfrm>
          <a:prstGeom prst="rect">
            <a:avLst/>
          </a:prstGeom>
          <a:ln w="190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7572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721D9-C107-4D5A-B48B-B992621FADC7}"/>
              </a:ext>
            </a:extLst>
          </p:cNvPr>
          <p:cNvSpPr>
            <a:spLocks noGrp="1"/>
          </p:cNvSpPr>
          <p:nvPr>
            <p:ph type="title"/>
          </p:nvPr>
        </p:nvSpPr>
        <p:spPr>
          <a:xfrm>
            <a:off x="655638" y="287383"/>
            <a:ext cx="10880725" cy="461665"/>
          </a:xfrm>
        </p:spPr>
        <p:txBody>
          <a:bodyPr/>
          <a:lstStyle/>
          <a:p>
            <a:r>
              <a:rPr lang="en-US" dirty="0"/>
              <a:t>Cache Plan Bloat	</a:t>
            </a:r>
          </a:p>
        </p:txBody>
      </p:sp>
      <p:sp>
        <p:nvSpPr>
          <p:cNvPr id="3" name="Subtitle 2">
            <a:extLst>
              <a:ext uri="{FF2B5EF4-FFF2-40B4-BE49-F238E27FC236}">
                <a16:creationId xmlns:a16="http://schemas.microsoft.com/office/drawing/2014/main" id="{76D68A99-F73F-4DA3-A076-996FB915B73C}"/>
              </a:ext>
            </a:extLst>
          </p:cNvPr>
          <p:cNvSpPr>
            <a:spLocks noGrp="1"/>
          </p:cNvSpPr>
          <p:nvPr>
            <p:ph type="subTitle" idx="1"/>
          </p:nvPr>
        </p:nvSpPr>
        <p:spPr/>
        <p:txBody>
          <a:bodyPr/>
          <a:lstStyle/>
          <a:p>
            <a:r>
              <a:rPr lang="en-US" dirty="0"/>
              <a:t>Caused by </a:t>
            </a:r>
            <a:r>
              <a:rPr lang="en-US" i="1" dirty="0"/>
              <a:t>ad hoc </a:t>
            </a:r>
            <a:r>
              <a:rPr lang="en-US" dirty="0"/>
              <a:t>SQL</a:t>
            </a:r>
          </a:p>
        </p:txBody>
      </p:sp>
      <p:graphicFrame>
        <p:nvGraphicFramePr>
          <p:cNvPr id="6" name="Content Placeholder 5">
            <a:extLst>
              <a:ext uri="{FF2B5EF4-FFF2-40B4-BE49-F238E27FC236}">
                <a16:creationId xmlns:a16="http://schemas.microsoft.com/office/drawing/2014/main" id="{59048E88-1954-41B7-8B8B-D2ABDC6142D2}"/>
              </a:ext>
            </a:extLst>
          </p:cNvPr>
          <p:cNvGraphicFramePr>
            <a:graphicFrameLocks noGrp="1"/>
          </p:cNvGraphicFramePr>
          <p:nvPr>
            <p:ph sz="quarter" idx="13"/>
            <p:extLst>
              <p:ext uri="{D42A27DB-BD31-4B8C-83A1-F6EECF244321}">
                <p14:modId xmlns:p14="http://schemas.microsoft.com/office/powerpoint/2010/main" val="3833494836"/>
              </p:ext>
            </p:extLst>
          </p:nvPr>
        </p:nvGraphicFramePr>
        <p:xfrm>
          <a:off x="655638" y="1408114"/>
          <a:ext cx="10880726" cy="2630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1092128-01F3-42D3-93C4-DCA71C6446E4}"/>
              </a:ext>
            </a:extLst>
          </p:cNvPr>
          <p:cNvSpPr/>
          <p:nvPr/>
        </p:nvSpPr>
        <p:spPr>
          <a:xfrm>
            <a:off x="463732" y="4441882"/>
            <a:ext cx="11197813" cy="1815882"/>
          </a:xfrm>
          <a:prstGeom prst="rect">
            <a:avLst/>
          </a:prstGeom>
          <a:ln>
            <a:solidFill>
              <a:schemeClr val="accent1"/>
            </a:solidFill>
          </a:ln>
        </p:spPr>
        <p:txBody>
          <a:bodyPr wrap="square">
            <a:spAutoFit/>
          </a:bodyPr>
          <a:lstStyle/>
          <a:p>
            <a:r>
              <a:rPr lang="en-US" sz="1400" dirty="0">
                <a:solidFill>
                  <a:srgbClr val="008000"/>
                </a:solidFill>
                <a:latin typeface="Consolas" panose="020B0609020204030204" pitchFamily="49" charset="0"/>
              </a:rPr>
              <a:t>-- Plan cache contents and memory use by object typ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objtyp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COUNT_BI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plan_cou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FF00FF"/>
                </a:solidFill>
                <a:latin typeface="Consolas" panose="020B0609020204030204" pitchFamily="49" charset="0"/>
              </a:rPr>
              <a:t>CAS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ize_in_bytes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CIMAL</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ze_mb</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AV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usecount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use_counts</a:t>
            </a:r>
            <a:r>
              <a:rPr lang="en-US" sz="1400" dirty="0">
                <a:solidFill>
                  <a:srgbClr val="80808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usecount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ngle_use_plan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FF00FF"/>
                </a:solidFill>
                <a:latin typeface="Consolas" panose="020B0609020204030204" pitchFamily="49" charset="0"/>
              </a:rPr>
              <a:t>CA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usecount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size_in_bytes</a:t>
            </a:r>
            <a:endParaRPr lang="en-US" sz="1400" dirty="0">
              <a:solidFill>
                <a:srgbClr val="0000FF"/>
              </a:solidFill>
              <a:latin typeface="Consolas" panose="020B0609020204030204" pitchFamily="49" charset="0"/>
            </a:endParaRP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CIMAL</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ngle_use_mb</a:t>
            </a:r>
          </a:p>
          <a:p>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cached_plan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WHERE</a:t>
            </a:r>
            <a:r>
              <a:rPr lang="en-US" sz="1400" dirty="0">
                <a:solidFill>
                  <a:srgbClr val="000000"/>
                </a:solidFill>
                <a:latin typeface="Consolas" panose="020B0609020204030204" pitchFamily="49" charset="0"/>
              </a:rPr>
              <a:t> cacheobjtype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N'Compiled Plan'</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ROUP</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a:t>
            </a:r>
            <a:r>
              <a:rPr lang="en-US" sz="1400" dirty="0">
                <a:solidFill>
                  <a:srgbClr val="000000"/>
                </a:solidFill>
                <a:latin typeface="Consolas" panose="020B0609020204030204" pitchFamily="49" charset="0"/>
              </a:rPr>
              <a:t> objtype</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p:txBody>
      </p:sp>
      <p:pic>
        <p:nvPicPr>
          <p:cNvPr id="4" name="Picture 3">
            <a:extLst>
              <a:ext uri="{FF2B5EF4-FFF2-40B4-BE49-F238E27FC236}">
                <a16:creationId xmlns:a16="http://schemas.microsoft.com/office/drawing/2014/main" id="{5A443D6D-629C-44F9-B99E-C243CEF49901}"/>
              </a:ext>
            </a:extLst>
          </p:cNvPr>
          <p:cNvPicPr>
            <a:picLocks noChangeAspect="1"/>
          </p:cNvPicPr>
          <p:nvPr/>
        </p:nvPicPr>
        <p:blipFill>
          <a:blip r:embed="rId8"/>
          <a:stretch>
            <a:fillRect/>
          </a:stretch>
        </p:blipFill>
        <p:spPr>
          <a:xfrm>
            <a:off x="2299738" y="4582953"/>
            <a:ext cx="7525800" cy="1533739"/>
          </a:xfrm>
          <a:prstGeom prst="rect">
            <a:avLst/>
          </a:prstGeom>
          <a:ln>
            <a:solidFill>
              <a:schemeClr val="tx1"/>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B0E341EA-D4E6-4053-8323-3834AD9A6B5E}"/>
              </a:ext>
            </a:extLst>
          </p:cNvPr>
          <p:cNvSpPr txBox="1"/>
          <p:nvPr/>
        </p:nvSpPr>
        <p:spPr>
          <a:xfrm>
            <a:off x="3330324" y="4940882"/>
            <a:ext cx="5464628" cy="861774"/>
          </a:xfrm>
          <a:prstGeom prst="rect">
            <a:avLst/>
          </a:prstGeom>
          <a:solidFill>
            <a:schemeClr val="bg1"/>
          </a:solidFill>
          <a:ln>
            <a:solidFill>
              <a:schemeClr val="accent1"/>
            </a:solidFill>
          </a:ln>
        </p:spPr>
        <p:txBody>
          <a:bodyPr wrap="square" lIns="0" tIns="0" rIns="0" bIns="0" rtlCol="0">
            <a:spAutoFit/>
          </a:bodyPr>
          <a:lstStyle/>
          <a:p>
            <a:r>
              <a:rPr lang="en-US" sz="1400" dirty="0">
                <a:solidFill>
                  <a:srgbClr val="0000FF"/>
                </a:solidFill>
                <a:latin typeface="Consolas" panose="020B0609020204030204" pitchFamily="49" charset="0"/>
              </a:rPr>
              <a:t>EXEC</a:t>
            </a:r>
            <a:r>
              <a:rPr lang="en-US" sz="1400" dirty="0">
                <a:solidFill>
                  <a:srgbClr val="000000"/>
                </a:solidFill>
                <a:latin typeface="Consolas" panose="020B0609020204030204" pitchFamily="49" charset="0"/>
              </a:rPr>
              <a:t> </a:t>
            </a:r>
            <a:r>
              <a:rPr lang="en-US" sz="1400" dirty="0">
                <a:solidFill>
                  <a:srgbClr val="800000"/>
                </a:solidFill>
                <a:latin typeface="Consolas" panose="020B0609020204030204" pitchFamily="49" charset="0"/>
              </a:rPr>
              <a:t>sp_configure</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optimize for ad hoc workloa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O</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RECONFIGUR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O</a:t>
            </a:r>
            <a:endParaRPr lang="en-US"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12679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1"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always the be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extLst>
              <p:ext uri="{D42A27DB-BD31-4B8C-83A1-F6EECF244321}">
                <p14:modId xmlns:p14="http://schemas.microsoft.com/office/powerpoint/2010/main" val="2939646560"/>
              </p:ext>
            </p:extLst>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algn="ctr"/>
            <a:r>
              <a:rPr lang="en-US" sz="2000" dirty="0">
                <a:solidFill>
                  <a:schemeClr val="accent3"/>
                </a:solidFill>
              </a:rPr>
              <a:t>Performance impact as new plans are compiled</a:t>
            </a:r>
          </a:p>
        </p:txBody>
      </p:sp>
    </p:spTree>
    <p:extLst>
      <p:ext uri="{BB962C8B-B14F-4D97-AF65-F5344CB8AC3E}">
        <p14:creationId xmlns:p14="http://schemas.microsoft.com/office/powerpoint/2010/main" val="4157009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your fir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extLst>
              <p:ext uri="{D42A27DB-BD31-4B8C-83A1-F6EECF244321}">
                <p14:modId xmlns:p14="http://schemas.microsoft.com/office/powerpoint/2010/main" val="591408473"/>
              </p:ext>
            </p:extLst>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algn="ctr"/>
            <a:r>
              <a:rPr lang="en-US" sz="2000" dirty="0">
                <a:solidFill>
                  <a:schemeClr val="accent3"/>
                </a:solidFill>
              </a:rPr>
              <a:t>Performance impact as new plans are compiled</a:t>
            </a:r>
          </a:p>
        </p:txBody>
      </p:sp>
      <p:pic>
        <p:nvPicPr>
          <p:cNvPr id="13" name="Picture 12">
            <a:extLst>
              <a:ext uri="{FF2B5EF4-FFF2-40B4-BE49-F238E27FC236}">
                <a16:creationId xmlns:a16="http://schemas.microsoft.com/office/drawing/2014/main" id="{F1D86874-F8F6-4823-9AC3-317E43B2F78E}"/>
              </a:ext>
            </a:extLst>
          </p:cNvPr>
          <p:cNvPicPr>
            <a:picLocks noChangeAspect="1"/>
          </p:cNvPicPr>
          <p:nvPr/>
        </p:nvPicPr>
        <p:blipFill>
          <a:blip r:embed="rId8"/>
          <a:stretch>
            <a:fillRect/>
          </a:stretch>
        </p:blipFill>
        <p:spPr>
          <a:xfrm>
            <a:off x="712384" y="1291685"/>
            <a:ext cx="11336332" cy="5258534"/>
          </a:xfrm>
          <a:prstGeom prst="rect">
            <a:avLst/>
          </a:prstGeom>
        </p:spPr>
      </p:pic>
      <p:pic>
        <p:nvPicPr>
          <p:cNvPr id="9" name="Picture 8">
            <a:extLst>
              <a:ext uri="{FF2B5EF4-FFF2-40B4-BE49-F238E27FC236}">
                <a16:creationId xmlns:a16="http://schemas.microsoft.com/office/drawing/2014/main" id="{4BB503AD-583B-4733-93A8-E3CD01E814D0}"/>
              </a:ext>
            </a:extLst>
          </p:cNvPr>
          <p:cNvPicPr>
            <a:picLocks noChangeAspect="1"/>
          </p:cNvPicPr>
          <p:nvPr/>
        </p:nvPicPr>
        <p:blipFill>
          <a:blip r:embed="rId9"/>
          <a:stretch>
            <a:fillRect/>
          </a:stretch>
        </p:blipFill>
        <p:spPr>
          <a:xfrm>
            <a:off x="617122" y="1291685"/>
            <a:ext cx="8773749" cy="4991797"/>
          </a:xfrm>
          <a:prstGeom prst="rect">
            <a:avLst/>
          </a:prstGeom>
        </p:spPr>
      </p:pic>
      <p:pic>
        <p:nvPicPr>
          <p:cNvPr id="10" name="Picture 9">
            <a:extLst>
              <a:ext uri="{FF2B5EF4-FFF2-40B4-BE49-F238E27FC236}">
                <a16:creationId xmlns:a16="http://schemas.microsoft.com/office/drawing/2014/main" id="{357188B9-A1B1-4144-AD87-829ED89D47FB}"/>
              </a:ext>
            </a:extLst>
          </p:cNvPr>
          <p:cNvPicPr>
            <a:picLocks noChangeAspect="1"/>
          </p:cNvPicPr>
          <p:nvPr/>
        </p:nvPicPr>
        <p:blipFill rotWithShape="1">
          <a:blip r:embed="rId10"/>
          <a:srcRect b="24726"/>
          <a:stretch/>
        </p:blipFill>
        <p:spPr>
          <a:xfrm>
            <a:off x="721911" y="1282481"/>
            <a:ext cx="11317279" cy="4539132"/>
          </a:xfrm>
          <a:prstGeom prst="rect">
            <a:avLst/>
          </a:prstGeom>
        </p:spPr>
      </p:pic>
      <p:pic>
        <p:nvPicPr>
          <p:cNvPr id="11" name="Picture 10">
            <a:extLst>
              <a:ext uri="{FF2B5EF4-FFF2-40B4-BE49-F238E27FC236}">
                <a16:creationId xmlns:a16="http://schemas.microsoft.com/office/drawing/2014/main" id="{8470BF62-8AEC-4B10-9047-CD3B1FCA20FB}"/>
              </a:ext>
            </a:extLst>
          </p:cNvPr>
          <p:cNvPicPr>
            <a:picLocks noChangeAspect="1"/>
          </p:cNvPicPr>
          <p:nvPr/>
        </p:nvPicPr>
        <p:blipFill>
          <a:blip r:embed="rId11"/>
          <a:stretch>
            <a:fillRect/>
          </a:stretch>
        </p:blipFill>
        <p:spPr>
          <a:xfrm>
            <a:off x="655227" y="1291685"/>
            <a:ext cx="11345858" cy="4124901"/>
          </a:xfrm>
          <a:prstGeom prst="rect">
            <a:avLst/>
          </a:prstGeom>
        </p:spPr>
      </p:pic>
      <p:pic>
        <p:nvPicPr>
          <p:cNvPr id="12" name="Picture 11">
            <a:extLst>
              <a:ext uri="{FF2B5EF4-FFF2-40B4-BE49-F238E27FC236}">
                <a16:creationId xmlns:a16="http://schemas.microsoft.com/office/drawing/2014/main" id="{16ED6B3F-2F5E-4E48-9074-FDEA740AB14B}"/>
              </a:ext>
            </a:extLst>
          </p:cNvPr>
          <p:cNvPicPr>
            <a:picLocks noChangeAspect="1"/>
          </p:cNvPicPr>
          <p:nvPr/>
        </p:nvPicPr>
        <p:blipFill>
          <a:blip r:embed="rId12"/>
          <a:stretch>
            <a:fillRect/>
          </a:stretch>
        </p:blipFill>
        <p:spPr>
          <a:xfrm>
            <a:off x="579017" y="1287007"/>
            <a:ext cx="11269648" cy="4925112"/>
          </a:xfrm>
          <a:prstGeom prst="rect">
            <a:avLst/>
          </a:prstGeom>
        </p:spPr>
      </p:pic>
    </p:spTree>
    <p:extLst>
      <p:ext uri="{BB962C8B-B14F-4D97-AF65-F5344CB8AC3E}">
        <p14:creationId xmlns:p14="http://schemas.microsoft.com/office/powerpoint/2010/main" val="89027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1"/>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6" name="Content Placeholder 5">
            <a:extLst>
              <a:ext uri="{FF2B5EF4-FFF2-40B4-BE49-F238E27FC236}">
                <a16:creationId xmlns:a16="http://schemas.microsoft.com/office/drawing/2014/main" id="{2217EB35-CC23-4C14-A610-AB5118F33063}"/>
              </a:ext>
            </a:extLst>
          </p:cNvPr>
          <p:cNvGraphicFramePr>
            <a:graphicFrameLocks noGrp="1"/>
          </p:cNvGraphicFramePr>
          <p:nvPr>
            <p:ph sz="quarter" idx="13"/>
            <p:extLst>
              <p:ext uri="{D42A27DB-BD31-4B8C-83A1-F6EECF244321}">
                <p14:modId xmlns:p14="http://schemas.microsoft.com/office/powerpoint/2010/main" val="2356605454"/>
              </p:ext>
            </p:extLst>
          </p:nvPr>
        </p:nvGraphicFramePr>
        <p:xfrm>
          <a:off x="655638" y="1169581"/>
          <a:ext cx="10880726" cy="2945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D5971169-0E16-4CF3-AC99-B2B168A60E27}"/>
              </a:ext>
            </a:extLst>
          </p:cNvPr>
          <p:cNvSpPr/>
          <p:nvPr/>
        </p:nvSpPr>
        <p:spPr>
          <a:xfrm>
            <a:off x="2819399" y="4434223"/>
            <a:ext cx="6553200" cy="2031325"/>
          </a:xfrm>
          <a:prstGeom prst="rect">
            <a:avLst/>
          </a:prstGeom>
          <a:ln>
            <a:solidFill>
              <a:schemeClr val="accent1"/>
            </a:solidFill>
          </a:ln>
        </p:spPr>
        <p:txBody>
          <a:bodyPr wrap="square">
            <a:spAutoFit/>
          </a:bodyPr>
          <a:lstStyle/>
          <a:p>
            <a:r>
              <a:rPr lang="en-US" sz="1400" dirty="0">
                <a:solidFill>
                  <a:srgbClr val="008000"/>
                </a:solidFill>
                <a:latin typeface="Consolas" panose="020B0609020204030204" pitchFamily="49" charset="0"/>
              </a:rPr>
              <a:t>-- Small changes in case or white space yield differing hashe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FROM Person.Perso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NIO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LL</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FROM </a:t>
            </a:r>
            <a:r>
              <a:rPr lang="en-US" sz="1400" dirty="0">
                <a:solidFill>
                  <a:srgbClr val="FF0000"/>
                </a:solidFill>
                <a:highlight>
                  <a:srgbClr val="00FF00"/>
                </a:highlight>
                <a:latin typeface="Consolas" panose="020B0609020204030204" pitchFamily="49" charset="0"/>
              </a:rPr>
              <a:t>p</a:t>
            </a:r>
            <a:r>
              <a:rPr lang="en-US" sz="1400" dirty="0">
                <a:solidFill>
                  <a:srgbClr val="FF0000"/>
                </a:solidFill>
                <a:latin typeface="Consolas" panose="020B0609020204030204" pitchFamily="49" charset="0"/>
              </a:rPr>
              <a:t>erson.Perso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NIO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LL</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a:t>
            </a:r>
            <a:r>
              <a:rPr lang="en-US" sz="1400" dirty="0">
                <a:solidFill>
                  <a:srgbClr val="FF0000"/>
                </a:solidFill>
                <a:highlight>
                  <a:srgbClr val="00FF00"/>
                </a:highlight>
                <a:latin typeface="Consolas" panose="020B0609020204030204" pitchFamily="49" charset="0"/>
              </a:rPr>
              <a:t>  </a:t>
            </a:r>
            <a:r>
              <a:rPr lang="en-US" sz="1400" dirty="0">
                <a:solidFill>
                  <a:srgbClr val="FF0000"/>
                </a:solidFill>
                <a:latin typeface="Consolas" panose="020B0609020204030204" pitchFamily="49" charset="0"/>
              </a:rPr>
              <a:t>FROM Person.Person'</a:t>
            </a:r>
            <a:r>
              <a:rPr lang="en-US" sz="1400" dirty="0">
                <a:solidFill>
                  <a:srgbClr val="808080"/>
                </a:solidFill>
                <a:latin typeface="Consolas" panose="020B0609020204030204" pitchFamily="49" charset="0"/>
              </a:rPr>
              <a:t>)</a:t>
            </a:r>
          </a:p>
          <a:p>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F2D4F28DA93156A5BB487B019F1F0191</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76F700BB3DC09FF482E1E4A77C7392E8</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B1D875A858F4D410D9E866C40E523683</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8777974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5" name="Content Placeholder 4">
            <a:extLst>
              <a:ext uri="{FF2B5EF4-FFF2-40B4-BE49-F238E27FC236}">
                <a16:creationId xmlns:a16="http://schemas.microsoft.com/office/drawing/2014/main" id="{44B17301-66B9-46C5-B710-C2BFBFF70B60}"/>
              </a:ext>
            </a:extLst>
          </p:cNvPr>
          <p:cNvGraphicFramePr>
            <a:graphicFrameLocks noGrp="1"/>
          </p:cNvGraphicFramePr>
          <p:nvPr>
            <p:ph sz="quarter" idx="13"/>
            <p:extLst>
              <p:ext uri="{D42A27DB-BD31-4B8C-83A1-F6EECF244321}">
                <p14:modId xmlns:p14="http://schemas.microsoft.com/office/powerpoint/2010/main" val="3238325335"/>
              </p:ext>
            </p:extLst>
          </p:nvPr>
        </p:nvGraphicFramePr>
        <p:xfrm>
          <a:off x="609600" y="1408115"/>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4">
            <a:extLst>
              <a:ext uri="{FF2B5EF4-FFF2-40B4-BE49-F238E27FC236}">
                <a16:creationId xmlns:a16="http://schemas.microsoft.com/office/drawing/2014/main" id="{403E7EC3-3214-4E4B-8924-AB1CB1A79B74}"/>
              </a:ext>
            </a:extLst>
          </p:cNvPr>
          <p:cNvGraphicFramePr>
            <a:graphicFrameLocks/>
          </p:cNvGraphicFramePr>
          <p:nvPr>
            <p:extLst>
              <p:ext uri="{D42A27DB-BD31-4B8C-83A1-F6EECF244321}">
                <p14:modId xmlns:p14="http://schemas.microsoft.com/office/powerpoint/2010/main" val="901403190"/>
              </p:ext>
            </p:extLst>
          </p:nvPr>
        </p:nvGraphicFramePr>
        <p:xfrm>
          <a:off x="609600" y="3589069"/>
          <a:ext cx="10880726" cy="32689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98996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wrap="square" anchor="t">
            <a:normAutofit/>
          </a:bodyPr>
          <a:lstStyle/>
          <a:p>
            <a:r>
              <a:rPr lang="en-AU" dirty="0"/>
              <a:t>Parameter Sniffing</a:t>
            </a:r>
            <a:endParaRPr lang="en-US" dirty="0"/>
          </a:p>
        </p:txBody>
      </p:sp>
      <p:pic>
        <p:nvPicPr>
          <p:cNvPr id="6" name="Picture 5">
            <a:extLst>
              <a:ext uri="{FF2B5EF4-FFF2-40B4-BE49-F238E27FC236}">
                <a16:creationId xmlns:a16="http://schemas.microsoft.com/office/drawing/2014/main" id="{E0234831-8521-49FC-8DBF-035ADF7F9610}"/>
              </a:ext>
            </a:extLst>
          </p:cNvPr>
          <p:cNvPicPr>
            <a:picLocks noChangeAspect="1"/>
          </p:cNvPicPr>
          <p:nvPr/>
        </p:nvPicPr>
        <p:blipFill>
          <a:blip r:embed="rId3"/>
          <a:stretch>
            <a:fillRect/>
          </a:stretch>
        </p:blipFill>
        <p:spPr>
          <a:xfrm>
            <a:off x="1505857" y="1408113"/>
            <a:ext cx="9180287"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72879874"/>
      </p:ext>
    </p:extLst>
  </p:cSld>
  <p:clrMapOvr>
    <a:masterClrMapping/>
  </p:clrMapOvr>
  <p:transition advTm="210110">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7" y="3519695"/>
            <a:ext cx="4581698" cy="2643188"/>
          </a:xfrm>
        </p:spPr>
        <p:txBody>
          <a:bodyPr/>
          <a:lstStyle/>
          <a:p>
            <a:r>
              <a:rPr lang="en-US" b="1" dirty="0"/>
              <a:t>Caching and Parameter sniffing</a:t>
            </a:r>
          </a:p>
          <a:p>
            <a:pPr marL="342900" indent="-342900">
              <a:buFont typeface="Arial" panose="020B0604020202020204" pitchFamily="34" charset="0"/>
              <a:buChar char="•"/>
            </a:pPr>
            <a:r>
              <a:rPr lang="en-US" sz="2000" dirty="0"/>
              <a:t>Caching and reuse of </a:t>
            </a:r>
            <a:r>
              <a:rPr lang="en-US" sz="2000" i="1" dirty="0"/>
              <a:t>ad hoc </a:t>
            </a:r>
            <a:r>
              <a:rPr lang="en-US" sz="2000" dirty="0"/>
              <a:t>vs. stored procedure query plans</a:t>
            </a:r>
          </a:p>
          <a:p>
            <a:pPr marL="342900" indent="-342900">
              <a:buFont typeface="Arial" panose="020B0604020202020204" pitchFamily="34" charset="0"/>
              <a:buChar char="•"/>
            </a:pPr>
            <a:r>
              <a:rPr lang="en-US" sz="2000" dirty="0"/>
              <a:t>Parameter sniffing</a:t>
            </a:r>
          </a:p>
          <a:p>
            <a:pPr marL="342900" indent="-342900">
              <a:buFont typeface="Arial" panose="020B0604020202020204" pitchFamily="34" charset="0"/>
              <a:buChar char="•"/>
            </a:pPr>
            <a:r>
              <a:rPr lang="en-US" sz="2000" dirty="0"/>
              <a:t>Querying the plan cach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81178159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Query Store </a:t>
            </a:r>
          </a:p>
        </p:txBody>
      </p:sp>
    </p:spTree>
    <p:extLst>
      <p:ext uri="{BB962C8B-B14F-4D97-AF65-F5344CB8AC3E}">
        <p14:creationId xmlns:p14="http://schemas.microsoft.com/office/powerpoint/2010/main" val="289400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makes Query Store a valuable tool.</a:t>
            </a:r>
          </a:p>
          <a:p>
            <a:r>
              <a:rPr lang="en-US" dirty="0"/>
              <a:t>Understand its key usage scenarios.</a:t>
            </a:r>
          </a:p>
          <a:p>
            <a:r>
              <a:rPr lang="en-US" dirty="0"/>
              <a:t>Enable Query Store and configure it appropriately.</a:t>
            </a:r>
          </a:p>
          <a:p>
            <a:r>
              <a:rPr lang="en-US" dirty="0"/>
              <a:t>List types of runtime data collected by the Query Store.</a:t>
            </a:r>
          </a:p>
          <a:p>
            <a:r>
              <a:rPr lang="en-US" dirty="0"/>
              <a:t>Have a basic understanding of the built-in reports.</a:t>
            </a:r>
          </a:p>
          <a:p>
            <a:r>
              <a:rPr lang="en-US" dirty="0"/>
              <a:t>Understanding Query Store Hints.</a:t>
            </a:r>
          </a:p>
          <a:p>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70529796-8FCE-4C02-79E5-814C66F8B6BD}"/>
              </a:ext>
            </a:extLst>
          </p:cNvPr>
          <p:cNvGraphicFramePr/>
          <p:nvPr>
            <p:extLst>
              <p:ext uri="{D42A27DB-BD31-4B8C-83A1-F6EECF244321}">
                <p14:modId xmlns:p14="http://schemas.microsoft.com/office/powerpoint/2010/main" val="2495813037"/>
              </p:ext>
            </p:extLst>
          </p:nvPr>
        </p:nvGraphicFramePr>
        <p:xfrm>
          <a:off x="6179129" y="1125128"/>
          <a:ext cx="5826760" cy="5161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269238" y="174885"/>
            <a:ext cx="10972800" cy="461665"/>
          </a:xfrm>
        </p:spPr>
        <p:txBody>
          <a:bodyPr/>
          <a:lstStyle/>
          <a:p>
            <a:r>
              <a:rPr lang="en-US" sz="3200" dirty="0"/>
              <a:t>Introducing the Query Store</a:t>
            </a:r>
          </a:p>
        </p:txBody>
      </p:sp>
      <p:pic>
        <p:nvPicPr>
          <p:cNvPr id="7" name="Picture 6" descr="A screenshot of a cell phone&#10;&#10;Description automatically generated">
            <a:extLst>
              <a:ext uri="{FF2B5EF4-FFF2-40B4-BE49-F238E27FC236}">
                <a16:creationId xmlns:a16="http://schemas.microsoft.com/office/drawing/2014/main" id="{D4718533-9C51-4AD3-81C0-3008AC8ABF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7127" y="1007642"/>
            <a:ext cx="5545558" cy="5064389"/>
          </a:xfrm>
          <a:prstGeom prst="snip2DiagRect">
            <a:avLst/>
          </a:prstGeom>
          <a:solidFill>
            <a:srgbClr val="FFFFFF">
              <a:shade val="85000"/>
            </a:srgbClr>
          </a:solidFill>
          <a:ln w="88900" cap="sq">
            <a:solidFill>
              <a:srgbClr val="FFFFFF"/>
            </a:solidFill>
            <a:miter lim="800000"/>
          </a:ln>
          <a:effectLst>
            <a:outerShdw blurRad="50800" dist="38100" dir="10800000" algn="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10208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EA56CE9E-CED6-482C-B429-412AE104EF8C}"/>
              </a:ext>
            </a:extLst>
          </p:cNvPr>
          <p:cNvGraphicFramePr/>
          <p:nvPr>
            <p:extLst>
              <p:ext uri="{D42A27DB-BD31-4B8C-83A1-F6EECF244321}">
                <p14:modId xmlns:p14="http://schemas.microsoft.com/office/powerpoint/2010/main" val="2959756448"/>
              </p:ext>
            </p:extLst>
          </p:nvPr>
        </p:nvGraphicFramePr>
        <p:xfrm>
          <a:off x="535529" y="905164"/>
          <a:ext cx="11199271" cy="5389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Why use Query Store?</a:t>
            </a:r>
          </a:p>
        </p:txBody>
      </p:sp>
    </p:spTree>
    <p:extLst>
      <p:ext uri="{BB962C8B-B14F-4D97-AF65-F5344CB8AC3E}">
        <p14:creationId xmlns:p14="http://schemas.microsoft.com/office/powerpoint/2010/main" val="875961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FD89DFFC-B710-B74B-B731-5AA51932C2B5}"/>
              </a:ext>
            </a:extLst>
          </p:cNvPr>
          <p:cNvSpPr/>
          <p:nvPr/>
        </p:nvSpPr>
        <p:spPr bwMode="auto">
          <a:xfrm>
            <a:off x="4451890" y="1196868"/>
            <a:ext cx="3376876" cy="5341092"/>
          </a:xfrm>
          <a:prstGeom prst="rect">
            <a:avLst/>
          </a:prstGeom>
          <a:solidFill>
            <a:schemeClr val="accent4">
              <a:lumMod val="40000"/>
              <a:lumOff val="60000"/>
            </a:schemeClr>
          </a:solidFill>
          <a:ln w="57150">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655638" y="320040"/>
            <a:ext cx="10880725" cy="461665"/>
          </a:xfrm>
        </p:spPr>
        <p:txBody>
          <a:bodyPr wrap="square" anchor="t">
            <a:normAutofit/>
          </a:bodyPr>
          <a:lstStyle/>
          <a:p>
            <a:r>
              <a:rPr lang="en-US" dirty="0"/>
              <a:t>How Query Store </a:t>
            </a:r>
            <a:r>
              <a:rPr lang="en-US"/>
              <a:t>collects and stores </a:t>
            </a:r>
            <a:r>
              <a:rPr lang="en-US" dirty="0"/>
              <a:t>data</a:t>
            </a:r>
          </a:p>
        </p:txBody>
      </p:sp>
      <p:grpSp>
        <p:nvGrpSpPr>
          <p:cNvPr id="25" name="Group 24">
            <a:extLst>
              <a:ext uri="{FF2B5EF4-FFF2-40B4-BE49-F238E27FC236}">
                <a16:creationId xmlns:a16="http://schemas.microsoft.com/office/drawing/2014/main" id="{E32E89E6-24A0-6AA8-7CF5-F2123F213394}"/>
              </a:ext>
            </a:extLst>
          </p:cNvPr>
          <p:cNvGrpSpPr/>
          <p:nvPr/>
        </p:nvGrpSpPr>
        <p:grpSpPr>
          <a:xfrm>
            <a:off x="1022108" y="1419643"/>
            <a:ext cx="2610157" cy="3803108"/>
            <a:chOff x="1240077" y="1370870"/>
            <a:chExt cx="2610157" cy="3803108"/>
          </a:xfrm>
        </p:grpSpPr>
        <p:sp>
          <p:nvSpPr>
            <p:cNvPr id="8" name="TextBox 7">
              <a:extLst>
                <a:ext uri="{FF2B5EF4-FFF2-40B4-BE49-F238E27FC236}">
                  <a16:creationId xmlns:a16="http://schemas.microsoft.com/office/drawing/2014/main" id="{02CA9709-D4D1-4161-078C-4403F9CA7D61}"/>
                </a:ext>
              </a:extLst>
            </p:cNvPr>
            <p:cNvSpPr txBox="1"/>
            <p:nvPr/>
          </p:nvSpPr>
          <p:spPr>
            <a:xfrm>
              <a:off x="1467917" y="1370870"/>
              <a:ext cx="2154477" cy="369332"/>
            </a:xfrm>
            <a:prstGeom prst="rect">
              <a:avLst/>
            </a:prstGeom>
            <a:noFill/>
          </p:spPr>
          <p:txBody>
            <a:bodyPr wrap="square" lIns="0" tIns="0" rIns="0" bIns="0" rtlCol="0">
              <a:spAutoFit/>
            </a:bodyPr>
            <a:lstStyle/>
            <a:p>
              <a:pPr algn="ctr"/>
              <a:r>
                <a:rPr lang="en-US" sz="2400" b="1" dirty="0">
                  <a:gradFill>
                    <a:gsLst>
                      <a:gs pos="2917">
                        <a:schemeClr val="tx1"/>
                      </a:gs>
                      <a:gs pos="30000">
                        <a:schemeClr val="tx1"/>
                      </a:gs>
                    </a:gsLst>
                    <a:lin ang="5400000" scaled="0"/>
                  </a:gradFill>
                </a:rPr>
                <a:t>SQL Query</a:t>
              </a:r>
            </a:p>
          </p:txBody>
        </p:sp>
        <p:sp>
          <p:nvSpPr>
            <p:cNvPr id="9" name="Rectangle 8">
              <a:extLst>
                <a:ext uri="{FF2B5EF4-FFF2-40B4-BE49-F238E27FC236}">
                  <a16:creationId xmlns:a16="http://schemas.microsoft.com/office/drawing/2014/main" id="{8274D134-4F01-92B2-D26A-A99DD5E4712D}"/>
                </a:ext>
              </a:extLst>
            </p:cNvPr>
            <p:cNvSpPr/>
            <p:nvPr/>
          </p:nvSpPr>
          <p:spPr bwMode="auto">
            <a:xfrm>
              <a:off x="1240077" y="2680282"/>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t>Compilation</a:t>
              </a: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B92ED7EB-B276-BC81-F715-A59374CBE820}"/>
                </a:ext>
              </a:extLst>
            </p:cNvPr>
            <p:cNvSpPr/>
            <p:nvPr/>
          </p:nvSpPr>
          <p:spPr bwMode="auto">
            <a:xfrm>
              <a:off x="1240077" y="4335778"/>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Execution</a:t>
              </a:r>
            </a:p>
          </p:txBody>
        </p:sp>
        <p:cxnSp>
          <p:nvCxnSpPr>
            <p:cNvPr id="13" name="Straight Arrow Connector 12">
              <a:extLst>
                <a:ext uri="{FF2B5EF4-FFF2-40B4-BE49-F238E27FC236}">
                  <a16:creationId xmlns:a16="http://schemas.microsoft.com/office/drawing/2014/main" id="{8A9E2300-825E-8DCA-4CAF-6FE911B3BF7B}"/>
                </a:ext>
              </a:extLst>
            </p:cNvPr>
            <p:cNvCxnSpPr>
              <a:stCxn id="8" idx="2"/>
              <a:endCxn id="9" idx="0"/>
            </p:cNvCxnSpPr>
            <p:nvPr/>
          </p:nvCxnSpPr>
          <p:spPr>
            <a:xfrm>
              <a:off x="2545156" y="1740202"/>
              <a:ext cx="0" cy="940080"/>
            </a:xfrm>
            <a:prstGeom prst="straightConnector1">
              <a:avLst/>
            </a:prstGeom>
            <a:ln w="57150">
              <a:solidFill>
                <a:srgbClr val="00206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4CB013D-B994-E73D-EE38-14776275CEB5}"/>
                </a:ext>
              </a:extLst>
            </p:cNvPr>
            <p:cNvCxnSpPr>
              <a:cxnSpLocks/>
              <a:stCxn id="9" idx="2"/>
              <a:endCxn id="10" idx="0"/>
            </p:cNvCxnSpPr>
            <p:nvPr/>
          </p:nvCxnSpPr>
          <p:spPr>
            <a:xfrm>
              <a:off x="2545156" y="3518482"/>
              <a:ext cx="0" cy="817296"/>
            </a:xfrm>
            <a:prstGeom prst="straightConnector1">
              <a:avLst/>
            </a:prstGeom>
            <a:ln w="57150">
              <a:solidFill>
                <a:srgbClr val="00206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2F9078B-AA99-9991-1B41-7B35D49412BC}"/>
              </a:ext>
            </a:extLst>
          </p:cNvPr>
          <p:cNvGrpSpPr/>
          <p:nvPr/>
        </p:nvGrpSpPr>
        <p:grpSpPr>
          <a:xfrm>
            <a:off x="8893905" y="2690942"/>
            <a:ext cx="2317312" cy="2505205"/>
            <a:chOff x="8877062" y="2668773"/>
            <a:chExt cx="2317312" cy="2505205"/>
          </a:xfrm>
        </p:grpSpPr>
        <p:sp>
          <p:nvSpPr>
            <p:cNvPr id="19" name="Cylinder 18">
              <a:extLst>
                <a:ext uri="{FF2B5EF4-FFF2-40B4-BE49-F238E27FC236}">
                  <a16:creationId xmlns:a16="http://schemas.microsoft.com/office/drawing/2014/main" id="{63961D36-71BA-D8EC-3E4D-9D155E65242C}"/>
                </a:ext>
              </a:extLst>
            </p:cNvPr>
            <p:cNvSpPr/>
            <p:nvPr/>
          </p:nvSpPr>
          <p:spPr bwMode="auto">
            <a:xfrm>
              <a:off x="8877062" y="2668773"/>
              <a:ext cx="2317312" cy="250520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D70DBF38-4594-0102-EF52-00BAD841C77F}"/>
                </a:ext>
              </a:extLst>
            </p:cNvPr>
            <p:cNvSpPr/>
            <p:nvPr/>
          </p:nvSpPr>
          <p:spPr bwMode="auto">
            <a:xfrm>
              <a:off x="8931483" y="3684452"/>
              <a:ext cx="2262891" cy="838200"/>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Query Store Internal Tables</a:t>
              </a:r>
            </a:p>
          </p:txBody>
        </p:sp>
      </p:grpSp>
      <p:sp>
        <p:nvSpPr>
          <p:cNvPr id="22" name="Rectangle 21">
            <a:extLst>
              <a:ext uri="{FF2B5EF4-FFF2-40B4-BE49-F238E27FC236}">
                <a16:creationId xmlns:a16="http://schemas.microsoft.com/office/drawing/2014/main" id="{5695BBC7-E861-FCF4-3881-F18F51E6D57D}"/>
              </a:ext>
            </a:extLst>
          </p:cNvPr>
          <p:cNvSpPr/>
          <p:nvPr/>
        </p:nvSpPr>
        <p:spPr bwMode="auto">
          <a:xfrm>
            <a:off x="4937344" y="2189599"/>
            <a:ext cx="2317312" cy="1078911"/>
          </a:xfrm>
          <a:prstGeom prst="rect">
            <a:avLst/>
          </a:prstGeom>
          <a:solidFill>
            <a:schemeClr val="accent4">
              <a:lumMod val="20000"/>
              <a:lumOff val="80000"/>
            </a:schemeClr>
          </a:solidFill>
          <a:ln w="381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solidFill>
                  <a:schemeClr val="tx1"/>
                </a:solidFill>
              </a:rPr>
              <a:t>Plan Store</a:t>
            </a:r>
            <a:endParaRPr lang="en-US" sz="2800" dirty="0">
              <a:solidFill>
                <a:schemeClr val="tx1"/>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565B57D2-B7E4-EDC8-771B-8F83E13D738E}"/>
              </a:ext>
            </a:extLst>
          </p:cNvPr>
          <p:cNvSpPr/>
          <p:nvPr/>
        </p:nvSpPr>
        <p:spPr bwMode="auto">
          <a:xfrm>
            <a:off x="4937344" y="3529754"/>
            <a:ext cx="2317312" cy="1078911"/>
          </a:xfrm>
          <a:prstGeom prst="rect">
            <a:avLst/>
          </a:prstGeom>
          <a:solidFill>
            <a:schemeClr val="accent4">
              <a:lumMod val="20000"/>
              <a:lumOff val="80000"/>
            </a:schemeClr>
          </a:solidFill>
          <a:ln w="381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solidFill>
                  <a:schemeClr val="tx1"/>
                </a:solidFill>
              </a:rPr>
              <a:t>Runtime Stats Store</a:t>
            </a:r>
            <a:endParaRPr lang="en-US" sz="2800" dirty="0">
              <a:solidFill>
                <a:schemeClr val="tx1"/>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FADDA46A-56A1-1066-0D31-1E4DAD122EE5}"/>
              </a:ext>
            </a:extLst>
          </p:cNvPr>
          <p:cNvSpPr/>
          <p:nvPr/>
        </p:nvSpPr>
        <p:spPr bwMode="auto">
          <a:xfrm>
            <a:off x="4937344" y="4869908"/>
            <a:ext cx="2317312" cy="1078911"/>
          </a:xfrm>
          <a:prstGeom prst="rect">
            <a:avLst/>
          </a:prstGeom>
          <a:solidFill>
            <a:schemeClr val="accent4">
              <a:lumMod val="20000"/>
              <a:lumOff val="80000"/>
            </a:schemeClr>
          </a:solidFill>
          <a:ln w="381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solidFill>
                  <a:schemeClr val="tx1"/>
                </a:solidFill>
              </a:rPr>
              <a:t>Wait Stats Store</a:t>
            </a:r>
            <a:endParaRPr lang="en-US" sz="2800" dirty="0">
              <a:solidFill>
                <a:schemeClr val="tx1"/>
              </a:soli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99338AB8-C76F-4119-E572-6A0CA957E34F}"/>
              </a:ext>
            </a:extLst>
          </p:cNvPr>
          <p:cNvCxnSpPr>
            <a:cxnSpLocks/>
            <a:stCxn id="9" idx="3"/>
            <a:endCxn id="22" idx="1"/>
          </p:cNvCxnSpPr>
          <p:nvPr/>
        </p:nvCxnSpPr>
        <p:spPr>
          <a:xfrm flipV="1">
            <a:off x="3632265" y="2729055"/>
            <a:ext cx="1305079" cy="419100"/>
          </a:xfrm>
          <a:prstGeom prst="straightConnector1">
            <a:avLst/>
          </a:prstGeom>
          <a:ln w="57150">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3A23499-6596-6D68-C5EB-A7AAB4E36590}"/>
              </a:ext>
            </a:extLst>
          </p:cNvPr>
          <p:cNvCxnSpPr>
            <a:cxnSpLocks/>
            <a:stCxn id="10" idx="3"/>
            <a:endCxn id="23" idx="1"/>
          </p:cNvCxnSpPr>
          <p:nvPr/>
        </p:nvCxnSpPr>
        <p:spPr>
          <a:xfrm flipV="1">
            <a:off x="3632265" y="4069210"/>
            <a:ext cx="1305079" cy="734441"/>
          </a:xfrm>
          <a:prstGeom prst="straightConnector1">
            <a:avLst/>
          </a:prstGeom>
          <a:ln w="57150">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D69926F-93A3-95F0-53E4-0BB385AC509E}"/>
              </a:ext>
            </a:extLst>
          </p:cNvPr>
          <p:cNvCxnSpPr>
            <a:cxnSpLocks/>
            <a:stCxn id="10" idx="3"/>
            <a:endCxn id="24" idx="1"/>
          </p:cNvCxnSpPr>
          <p:nvPr/>
        </p:nvCxnSpPr>
        <p:spPr>
          <a:xfrm>
            <a:off x="3632265" y="4803651"/>
            <a:ext cx="1305079" cy="605713"/>
          </a:xfrm>
          <a:prstGeom prst="straightConnector1">
            <a:avLst/>
          </a:prstGeom>
          <a:ln w="57150">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9019207-AF03-DF2E-3226-6F86C896A3A6}"/>
              </a:ext>
            </a:extLst>
          </p:cNvPr>
          <p:cNvCxnSpPr>
            <a:cxnSpLocks/>
            <a:stCxn id="22" idx="3"/>
          </p:cNvCxnSpPr>
          <p:nvPr/>
        </p:nvCxnSpPr>
        <p:spPr>
          <a:xfrm>
            <a:off x="7254656" y="2729055"/>
            <a:ext cx="1714831" cy="925021"/>
          </a:xfrm>
          <a:prstGeom prst="straightConnector1">
            <a:avLst/>
          </a:prstGeom>
          <a:ln w="57150">
            <a:solidFill>
              <a:srgbClr val="00206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D2365A-686A-CE1B-56BE-EAB73E2B4E4F}"/>
              </a:ext>
            </a:extLst>
          </p:cNvPr>
          <p:cNvCxnSpPr>
            <a:cxnSpLocks/>
            <a:stCxn id="23" idx="3"/>
            <a:endCxn id="20" idx="1"/>
          </p:cNvCxnSpPr>
          <p:nvPr/>
        </p:nvCxnSpPr>
        <p:spPr>
          <a:xfrm>
            <a:off x="7254656" y="4069210"/>
            <a:ext cx="1693670" cy="56511"/>
          </a:xfrm>
          <a:prstGeom prst="straightConnector1">
            <a:avLst/>
          </a:prstGeom>
          <a:ln w="57150">
            <a:solidFill>
              <a:srgbClr val="00206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AD3C437-9852-FCDC-AA6A-4B149231BB7A}"/>
              </a:ext>
            </a:extLst>
          </p:cNvPr>
          <p:cNvCxnSpPr>
            <a:cxnSpLocks/>
            <a:stCxn id="24" idx="3"/>
          </p:cNvCxnSpPr>
          <p:nvPr/>
        </p:nvCxnSpPr>
        <p:spPr>
          <a:xfrm flipV="1">
            <a:off x="7254656" y="4533097"/>
            <a:ext cx="1714831" cy="876267"/>
          </a:xfrm>
          <a:prstGeom prst="straightConnector1">
            <a:avLst/>
          </a:prstGeom>
          <a:ln w="57150">
            <a:solidFill>
              <a:srgbClr val="00206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9E15AD70-FA86-49F8-5A61-7FB6EEB71CD2}"/>
              </a:ext>
            </a:extLst>
          </p:cNvPr>
          <p:cNvSpPr/>
          <p:nvPr/>
        </p:nvSpPr>
        <p:spPr bwMode="auto">
          <a:xfrm>
            <a:off x="6989523" y="3529754"/>
            <a:ext cx="2317312" cy="2419065"/>
          </a:xfrm>
          <a:prstGeom prst="ellipse">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3911BD28-6C1D-6E8A-3BE2-41E974B6266A}"/>
              </a:ext>
            </a:extLst>
          </p:cNvPr>
          <p:cNvSpPr txBox="1"/>
          <p:nvPr/>
        </p:nvSpPr>
        <p:spPr>
          <a:xfrm>
            <a:off x="8722289" y="5714846"/>
            <a:ext cx="2317312" cy="615553"/>
          </a:xfrm>
          <a:prstGeom prst="rect">
            <a:avLst/>
          </a:prstGeom>
          <a:noFill/>
          <a:ln>
            <a:noFill/>
          </a:ln>
        </p:spPr>
        <p:txBody>
          <a:bodyPr wrap="square" lIns="0" tIns="0" rIns="0" bIns="0" rtlCol="0">
            <a:spAutoFit/>
          </a:bodyPr>
          <a:lstStyle/>
          <a:p>
            <a:pPr algn="ctr"/>
            <a:r>
              <a:rPr lang="en-US" sz="2000" b="1" dirty="0">
                <a:solidFill>
                  <a:srgbClr val="C00000"/>
                </a:solidFill>
              </a:rPr>
              <a:t>Asynchronous Write</a:t>
            </a:r>
          </a:p>
        </p:txBody>
      </p:sp>
      <p:sp>
        <p:nvSpPr>
          <p:cNvPr id="54" name="TextBox 53">
            <a:extLst>
              <a:ext uri="{FF2B5EF4-FFF2-40B4-BE49-F238E27FC236}">
                <a16:creationId xmlns:a16="http://schemas.microsoft.com/office/drawing/2014/main" id="{25A8464D-B533-E873-32DF-62C849E39D6F}"/>
              </a:ext>
            </a:extLst>
          </p:cNvPr>
          <p:cNvSpPr txBox="1"/>
          <p:nvPr/>
        </p:nvSpPr>
        <p:spPr>
          <a:xfrm>
            <a:off x="4937344" y="1514601"/>
            <a:ext cx="2317312" cy="307777"/>
          </a:xfrm>
          <a:prstGeom prst="rect">
            <a:avLst/>
          </a:prstGeom>
          <a:noFill/>
          <a:ln>
            <a:noFill/>
          </a:ln>
        </p:spPr>
        <p:txBody>
          <a:bodyPr wrap="square" lIns="0" tIns="0" rIns="0" bIns="0" rtlCol="0">
            <a:spAutoFit/>
          </a:bodyPr>
          <a:lstStyle/>
          <a:p>
            <a:pPr algn="ctr"/>
            <a:r>
              <a:rPr lang="en-US" sz="2000" b="1" dirty="0">
                <a:solidFill>
                  <a:schemeClr val="accent4">
                    <a:lumMod val="50000"/>
                  </a:schemeClr>
                </a:solidFill>
              </a:rPr>
              <a:t>In - Memory</a:t>
            </a:r>
          </a:p>
        </p:txBody>
      </p:sp>
    </p:spTree>
    <p:extLst>
      <p:ext uri="{BB962C8B-B14F-4D97-AF65-F5344CB8AC3E}">
        <p14:creationId xmlns:p14="http://schemas.microsoft.com/office/powerpoint/2010/main" val="1872206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81126" y="201797"/>
            <a:ext cx="10972800" cy="474041"/>
          </a:xfrm>
        </p:spPr>
        <p:txBody>
          <a:bodyPr/>
          <a:lstStyle/>
          <a:p>
            <a:r>
              <a:rPr lang="en-US" sz="3200" dirty="0"/>
              <a:t>Query</a:t>
            </a:r>
            <a:r>
              <a:rPr lang="en-US" dirty="0"/>
              <a:t> </a:t>
            </a:r>
            <a:r>
              <a:rPr lang="en-US" sz="3200" dirty="0"/>
              <a:t>Store</a:t>
            </a:r>
            <a:r>
              <a:rPr lang="en-US" dirty="0"/>
              <a:t> </a:t>
            </a:r>
            <a:r>
              <a:rPr lang="en-US" sz="3200" dirty="0"/>
              <a:t>Operation</a:t>
            </a:r>
            <a:r>
              <a:rPr lang="en-US" dirty="0"/>
              <a:t> </a:t>
            </a:r>
            <a:r>
              <a:rPr lang="en-US" sz="3200" dirty="0"/>
              <a:t>Modes</a:t>
            </a:r>
          </a:p>
        </p:txBody>
      </p:sp>
      <p:pic>
        <p:nvPicPr>
          <p:cNvPr id="6" name="Picture 5">
            <a:extLst>
              <a:ext uri="{FF2B5EF4-FFF2-40B4-BE49-F238E27FC236}">
                <a16:creationId xmlns:a16="http://schemas.microsoft.com/office/drawing/2014/main" id="{F1E8043F-9EB1-4FC2-8383-30CE67115D40}"/>
              </a:ext>
            </a:extLst>
          </p:cNvPr>
          <p:cNvPicPr>
            <a:picLocks noChangeAspect="1"/>
          </p:cNvPicPr>
          <p:nvPr/>
        </p:nvPicPr>
        <p:blipFill>
          <a:blip r:embed="rId2"/>
          <a:stretch>
            <a:fillRect/>
          </a:stretch>
        </p:blipFill>
        <p:spPr>
          <a:xfrm>
            <a:off x="505808" y="1777401"/>
            <a:ext cx="5752059" cy="1335299"/>
          </a:xfrm>
          <a:prstGeom prst="rect">
            <a:avLst/>
          </a:prstGeom>
        </p:spPr>
      </p:pic>
      <p:sp>
        <p:nvSpPr>
          <p:cNvPr id="8" name="Text Placeholder 4">
            <a:extLst>
              <a:ext uri="{FF2B5EF4-FFF2-40B4-BE49-F238E27FC236}">
                <a16:creationId xmlns:a16="http://schemas.microsoft.com/office/drawing/2014/main" id="{B0B18559-20C6-45CA-8BBF-D4DB5CD3F376}"/>
              </a:ext>
            </a:extLst>
          </p:cNvPr>
          <p:cNvSpPr txBox="1">
            <a:spLocks/>
          </p:cNvSpPr>
          <p:nvPr/>
        </p:nvSpPr>
        <p:spPr>
          <a:xfrm>
            <a:off x="368017" y="105525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set under database properties</a:t>
            </a:r>
          </a:p>
        </p:txBody>
      </p:sp>
      <p:sp>
        <p:nvSpPr>
          <p:cNvPr id="9" name="Text Placeholder 4">
            <a:extLst>
              <a:ext uri="{FF2B5EF4-FFF2-40B4-BE49-F238E27FC236}">
                <a16:creationId xmlns:a16="http://schemas.microsoft.com/office/drawing/2014/main" id="{A2836666-3BC2-4791-BDBF-0B05627B21E4}"/>
              </a:ext>
            </a:extLst>
          </p:cNvPr>
          <p:cNvSpPr txBox="1">
            <a:spLocks/>
          </p:cNvSpPr>
          <p:nvPr/>
        </p:nvSpPr>
        <p:spPr>
          <a:xfrm>
            <a:off x="368017" y="3289114"/>
            <a:ext cx="11651870" cy="10988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enabled two ways using T-SQL. If only using the ON option, the Mode defaults to </a:t>
            </a:r>
            <a:r>
              <a:rPr kumimoji="0" lang="en-US" sz="3529" b="1" i="0" u="none" strike="noStrike" kern="1200" cap="none" spc="0" normalizeH="0" baseline="0" noProof="0" dirty="0">
                <a:ln>
                  <a:noFill/>
                </a:ln>
                <a:solidFill>
                  <a:srgbClr val="000000"/>
                </a:solidFill>
                <a:effectLst/>
                <a:uLnTx/>
                <a:uFillTx/>
                <a:latin typeface="Segoe UI"/>
                <a:ea typeface="+mn-ea"/>
                <a:cs typeface="+mn-cs"/>
              </a:rPr>
              <a:t>Read_Write</a:t>
            </a:r>
          </a:p>
        </p:txBody>
      </p:sp>
      <p:sp>
        <p:nvSpPr>
          <p:cNvPr id="4" name="TextBox 3">
            <a:extLst>
              <a:ext uri="{FF2B5EF4-FFF2-40B4-BE49-F238E27FC236}">
                <a16:creationId xmlns:a16="http://schemas.microsoft.com/office/drawing/2014/main" id="{EB973F70-776B-A3EF-ACE2-E38EFB3660E9}"/>
              </a:ext>
            </a:extLst>
          </p:cNvPr>
          <p:cNvSpPr txBox="1"/>
          <p:nvPr/>
        </p:nvSpPr>
        <p:spPr>
          <a:xfrm>
            <a:off x="505808" y="4946450"/>
            <a:ext cx="8913765" cy="400110"/>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ON</a:t>
            </a:r>
            <a:r>
              <a:rPr lang="en-US" sz="2000" b="1" dirty="0">
                <a:solidFill>
                  <a:srgbClr val="808080"/>
                </a:solidFill>
                <a:latin typeface="Consolas" panose="020B0609020204030204" pitchFamily="49" charset="0"/>
              </a:rPr>
              <a:t>;</a:t>
            </a:r>
            <a:endParaRPr lang="en-US" sz="2000" b="1" dirty="0"/>
          </a:p>
        </p:txBody>
      </p:sp>
      <p:sp>
        <p:nvSpPr>
          <p:cNvPr id="11" name="TextBox 10">
            <a:extLst>
              <a:ext uri="{FF2B5EF4-FFF2-40B4-BE49-F238E27FC236}">
                <a16:creationId xmlns:a16="http://schemas.microsoft.com/office/drawing/2014/main" id="{89C79A0D-BA09-F775-9B9D-070363EF6735}"/>
              </a:ext>
            </a:extLst>
          </p:cNvPr>
          <p:cNvSpPr txBox="1"/>
          <p:nvPr/>
        </p:nvSpPr>
        <p:spPr>
          <a:xfrm>
            <a:off x="505808" y="5448803"/>
            <a:ext cx="10379310" cy="707886"/>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endParaRPr lang="en-US" sz="2000" b="1" dirty="0">
              <a:solidFill>
                <a:srgbClr val="000000"/>
              </a:solidFill>
              <a:latin typeface="Consolas" panose="020B0609020204030204" pitchFamily="49" charset="0"/>
            </a:endParaRPr>
          </a:p>
          <a:p>
            <a:r>
              <a:rPr lang="en-US" sz="2000" b="1" dirty="0">
                <a:solidFill>
                  <a:srgbClr val="808080"/>
                </a:solidFill>
                <a:latin typeface="Consolas" panose="020B0609020204030204" pitchFamily="49" charset="0"/>
              </a:rPr>
              <a:t>(</a:t>
            </a:r>
            <a:r>
              <a:rPr lang="en-US" sz="2000" b="1" dirty="0">
                <a:solidFill>
                  <a:srgbClr val="0000FF"/>
                </a:solidFill>
                <a:latin typeface="Consolas" panose="020B0609020204030204" pitchFamily="49" charset="0"/>
              </a:rPr>
              <a:t>OPERATION_MODE</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READ_WRITE</a:t>
            </a:r>
            <a:r>
              <a:rPr lang="en-US" sz="2000" b="1" dirty="0">
                <a:solidFill>
                  <a:srgbClr val="808080"/>
                </a:solidFill>
                <a:latin typeface="Consolas" panose="020B0609020204030204" pitchFamily="49" charset="0"/>
              </a:rPr>
              <a:t>);</a:t>
            </a:r>
            <a:endParaRPr lang="en-US" sz="2000" b="1" dirty="0"/>
          </a:p>
        </p:txBody>
      </p:sp>
    </p:spTree>
    <p:extLst>
      <p:ext uri="{BB962C8B-B14F-4D97-AF65-F5344CB8AC3E}">
        <p14:creationId xmlns:p14="http://schemas.microsoft.com/office/powerpoint/2010/main" val="2798226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sp>
        <p:nvSpPr>
          <p:cNvPr id="11" name="Text Placeholder 4">
            <a:extLst>
              <a:ext uri="{FF2B5EF4-FFF2-40B4-BE49-F238E27FC236}">
                <a16:creationId xmlns:a16="http://schemas.microsoft.com/office/drawing/2014/main" id="{ED72539F-D00E-4617-9502-AF0D3E71D95D}"/>
              </a:ext>
            </a:extLst>
          </p:cNvPr>
          <p:cNvSpPr txBox="1">
            <a:spLocks/>
          </p:cNvSpPr>
          <p:nvPr/>
        </p:nvSpPr>
        <p:spPr>
          <a:xfrm>
            <a:off x="419469" y="121713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Data Flush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frequency at which data written to the query store is persisted to disk.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15 Minutes</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745"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153190" y="3109622"/>
            <a:ext cx="7498914" cy="1015663"/>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3997569"/>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 name="Rectangle 16">
            <a:extLst>
              <a:ext uri="{FF2B5EF4-FFF2-40B4-BE49-F238E27FC236}">
                <a16:creationId xmlns:a16="http://schemas.microsoft.com/office/drawing/2014/main" id="{C08F8206-3F16-4122-B58B-77E6E00FF6BB}"/>
              </a:ext>
            </a:extLst>
          </p:cNvPr>
          <p:cNvSpPr/>
          <p:nvPr/>
        </p:nvSpPr>
        <p:spPr bwMode="auto">
          <a:xfrm>
            <a:off x="2516961" y="5114841"/>
            <a:ext cx="4750861" cy="338322"/>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0DE95269-95E7-79A6-509A-A8FA14B4E534}"/>
              </a:ext>
            </a:extLst>
          </p:cNvPr>
          <p:cNvSpPr txBox="1"/>
          <p:nvPr/>
        </p:nvSpPr>
        <p:spPr>
          <a:xfrm>
            <a:off x="2346543" y="4494276"/>
            <a:ext cx="7498914" cy="1015663"/>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endParaRPr lang="en-US" sz="2000" b="1" dirty="0">
              <a:solidFill>
                <a:srgbClr val="000000"/>
              </a:solidFill>
              <a:latin typeface="Consolas" panose="020B0609020204030204" pitchFamily="49" charset="0"/>
            </a:endParaRPr>
          </a:p>
          <a:p>
            <a:r>
              <a:rPr lang="en-US" sz="2000" b="1" dirty="0">
                <a:solidFill>
                  <a:srgbClr val="808080"/>
                </a:solidFill>
                <a:latin typeface="Consolas" panose="020B0609020204030204" pitchFamily="49" charset="0"/>
              </a:rPr>
              <a:t>(</a:t>
            </a:r>
            <a:r>
              <a:rPr lang="en-US" sz="2000" b="1" dirty="0">
                <a:solidFill>
                  <a:srgbClr val="0000FF"/>
                </a:solidFill>
                <a:latin typeface="Consolas" panose="020B0609020204030204" pitchFamily="49" charset="0"/>
              </a:rPr>
              <a:t>INTERVAL_LENGTH_MINUTE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60</a:t>
            </a:r>
            <a:r>
              <a:rPr lang="en-US" sz="2000" b="1" dirty="0">
                <a:solidFill>
                  <a:srgbClr val="808080"/>
                </a:solidFill>
                <a:latin typeface="Consolas" panose="020B0609020204030204" pitchFamily="49" charset="0"/>
              </a:rPr>
              <a:t>,</a:t>
            </a:r>
            <a:endParaRPr lang="en-US" sz="2000" b="1" dirty="0">
              <a:solidFill>
                <a:srgbClr val="000000"/>
              </a:solidFill>
              <a:latin typeface="Consolas" panose="020B0609020204030204" pitchFamily="49" charset="0"/>
            </a:endParaRPr>
          </a:p>
          <a:p>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_FLUSH_INTERVAL_SECOND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900 </a:t>
            </a:r>
            <a:r>
              <a:rPr lang="en-US" sz="2000" b="1" dirty="0">
                <a:solidFill>
                  <a:srgbClr val="808080"/>
                </a:solidFill>
                <a:latin typeface="Consolas" panose="020B0609020204030204" pitchFamily="49" charset="0"/>
              </a:rPr>
              <a:t>);</a:t>
            </a:r>
            <a:endParaRPr lang="en-US" sz="2000" b="1" dirty="0"/>
          </a:p>
        </p:txBody>
      </p:sp>
    </p:spTree>
    <p:extLst>
      <p:ext uri="{BB962C8B-B14F-4D97-AF65-F5344CB8AC3E}">
        <p14:creationId xmlns:p14="http://schemas.microsoft.com/office/powerpoint/2010/main" val="1538765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098232" y="3429000"/>
            <a:ext cx="7498913" cy="1091094"/>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4242586"/>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F26E5BDF-21D4-42F2-BC0C-DCD419763B12}"/>
              </a:ext>
            </a:extLst>
          </p:cNvPr>
          <p:cNvSpPr txBox="1">
            <a:spLocks/>
          </p:cNvSpPr>
          <p:nvPr/>
        </p:nvSpPr>
        <p:spPr>
          <a:xfrm>
            <a:off x="270892" y="95864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tatistics Collection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time interval at which runtime execution statistics data is aggregated into the query store. Only the values of 1, 5, 10, 15, 60, and 1440 minutes is allowed.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6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5F47B79E-DD95-F28D-4A44-EE0B523C1F51}"/>
              </a:ext>
            </a:extLst>
          </p:cNvPr>
          <p:cNvSpPr txBox="1"/>
          <p:nvPr/>
        </p:nvSpPr>
        <p:spPr>
          <a:xfrm>
            <a:off x="2346542" y="4843793"/>
            <a:ext cx="7498914" cy="1015663"/>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endParaRPr lang="en-US" sz="2000" b="1" dirty="0">
              <a:solidFill>
                <a:srgbClr val="000000"/>
              </a:solidFill>
              <a:latin typeface="Consolas" panose="020B0609020204030204" pitchFamily="49" charset="0"/>
            </a:endParaRPr>
          </a:p>
          <a:p>
            <a:r>
              <a:rPr lang="en-US" sz="2000" b="1" dirty="0">
                <a:solidFill>
                  <a:srgbClr val="808080"/>
                </a:solidFill>
                <a:latin typeface="Consolas" panose="020B0609020204030204" pitchFamily="49" charset="0"/>
              </a:rPr>
              <a:t>(</a:t>
            </a:r>
            <a:r>
              <a:rPr lang="en-US" sz="2000" b="1" dirty="0">
                <a:solidFill>
                  <a:srgbClr val="0000FF"/>
                </a:solidFill>
                <a:latin typeface="Consolas" panose="020B0609020204030204" pitchFamily="49" charset="0"/>
              </a:rPr>
              <a:t>INTERVAL_LENGTH_MINUTE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60</a:t>
            </a:r>
            <a:r>
              <a:rPr lang="en-US" sz="2000" b="1" dirty="0">
                <a:solidFill>
                  <a:srgbClr val="808080"/>
                </a:solidFill>
                <a:latin typeface="Consolas" panose="020B0609020204030204" pitchFamily="49" charset="0"/>
              </a:rPr>
              <a:t>,</a:t>
            </a:r>
            <a:endParaRPr lang="en-US" sz="2000" b="1" dirty="0">
              <a:solidFill>
                <a:srgbClr val="000000"/>
              </a:solidFill>
              <a:latin typeface="Consolas" panose="020B0609020204030204" pitchFamily="49" charset="0"/>
            </a:endParaRPr>
          </a:p>
          <a:p>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_FLUSH_INTERVAL_SECOND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900 </a:t>
            </a:r>
            <a:r>
              <a:rPr lang="en-US" sz="2000" b="1" dirty="0">
                <a:solidFill>
                  <a:srgbClr val="808080"/>
                </a:solidFill>
                <a:latin typeface="Consolas" panose="020B0609020204030204" pitchFamily="49" charset="0"/>
              </a:rPr>
              <a:t>);</a:t>
            </a:r>
            <a:endParaRPr lang="en-US" sz="2000" b="1" dirty="0"/>
          </a:p>
        </p:txBody>
      </p:sp>
      <p:sp>
        <p:nvSpPr>
          <p:cNvPr id="6" name="Rectangle 5">
            <a:extLst>
              <a:ext uri="{FF2B5EF4-FFF2-40B4-BE49-F238E27FC236}">
                <a16:creationId xmlns:a16="http://schemas.microsoft.com/office/drawing/2014/main" id="{A751E86D-79BB-51D7-7FCC-CB2DA5613C66}"/>
              </a:ext>
            </a:extLst>
          </p:cNvPr>
          <p:cNvSpPr/>
          <p:nvPr/>
        </p:nvSpPr>
        <p:spPr bwMode="auto">
          <a:xfrm>
            <a:off x="2516961" y="5177471"/>
            <a:ext cx="4750861" cy="338322"/>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6931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60539" y="114907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Max Plans Per Query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and is an integer representing the maximum number of plans maintained for each query.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20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93644"/>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3863268"/>
              <a:ext cx="4707548" cy="35921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445854" y="4094177"/>
            <a:ext cx="4707548" cy="31996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F8F3A139-6F2D-412D-B263-60B04A18F1A9}"/>
              </a:ext>
            </a:extLst>
          </p:cNvPr>
          <p:cNvSpPr txBox="1"/>
          <p:nvPr/>
        </p:nvSpPr>
        <p:spPr>
          <a:xfrm>
            <a:off x="5320595" y="3793644"/>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632798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Plan Cache </a:t>
            </a:r>
          </a:p>
          <a:p>
            <a:r>
              <a:rPr lang="en-US" dirty="0"/>
              <a:t>Lesson 2: SQL Server Query Store</a:t>
            </a:r>
          </a:p>
          <a:p>
            <a:r>
              <a:rPr lang="en-US" dirty="0"/>
              <a:t>Lesson 3: Intelligent Query Processing </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315807" y="3793644"/>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464427" y="4433455"/>
            <a:ext cx="4707548" cy="313475"/>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386A5A2-5254-49AE-9EFB-E2A22D355E75}"/>
              </a:ext>
            </a:extLst>
          </p:cNvPr>
          <p:cNvSpPr/>
          <p:nvPr/>
        </p:nvSpPr>
        <p:spPr bwMode="auto">
          <a:xfrm>
            <a:off x="5320595" y="4341481"/>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55510D03-36E1-404B-9197-D6A98D340CB4}"/>
              </a:ext>
            </a:extLst>
          </p:cNvPr>
          <p:cNvSpPr txBox="1">
            <a:spLocks/>
          </p:cNvSpPr>
          <p:nvPr/>
        </p:nvSpPr>
        <p:spPr>
          <a:xfrm>
            <a:off x="315807" y="124306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Max Size (MB) </a:t>
            </a:r>
            <a:r>
              <a:rPr kumimoji="0" lang="en-US" sz="3921" b="0" i="0" u="none" strike="noStrike" kern="1200" cap="none" spc="0" normalizeH="0" baseline="0" noProof="0" dirty="0">
                <a:ln>
                  <a:noFill/>
                </a:ln>
                <a:solidFill>
                  <a:srgbClr val="000000"/>
                </a:solidFill>
                <a:effectLst/>
                <a:uLnTx/>
                <a:uFillTx/>
                <a:latin typeface="Segoe UI"/>
                <a:ea typeface="+mn-ea"/>
                <a:cs typeface="+mn-cs"/>
              </a:rPr>
              <a:t>configures the maximum storage size for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100MB</a:t>
            </a:r>
            <a:r>
              <a:rPr kumimoji="0" lang="en-US" sz="3921" b="0" i="0" u="none" strike="noStrike" kern="1200" cap="none" spc="0" normalizeH="0" baseline="0" noProof="0" dirty="0">
                <a:ln>
                  <a:noFill/>
                </a:ln>
                <a:solidFill>
                  <a:srgbClr val="000000"/>
                </a:solidFill>
                <a:effectLst/>
                <a:uLnTx/>
                <a:uFillTx/>
                <a:latin typeface="Segoe UI"/>
                <a:ea typeface="+mn-ea"/>
                <a:cs typeface="+mn-cs"/>
              </a:rPr>
              <a:t>) When the query store limit is reached, query store changes the state from read-write to read-only.</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406C86D9-26D9-A7DA-20C0-84E22079337F}"/>
              </a:ext>
            </a:extLst>
          </p:cNvPr>
          <p:cNvSpPr txBox="1"/>
          <p:nvPr/>
        </p:nvSpPr>
        <p:spPr>
          <a:xfrm>
            <a:off x="5320595" y="3768592"/>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4293895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93644"/>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4502727"/>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595" y="4613501"/>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
            <a:extLst>
              <a:ext uri="{FF2B5EF4-FFF2-40B4-BE49-F238E27FC236}">
                <a16:creationId xmlns:a16="http://schemas.microsoft.com/office/drawing/2014/main" id="{33274495-50A2-4DC7-B5DD-A51EA39A8AAA}"/>
              </a:ext>
            </a:extLst>
          </p:cNvPr>
          <p:cNvSpPr txBox="1">
            <a:spLocks/>
          </p:cNvSpPr>
          <p:nvPr/>
        </p:nvSpPr>
        <p:spPr>
          <a:xfrm>
            <a:off x="347079" y="990727"/>
            <a:ext cx="11651870" cy="2566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Query Store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o capture all the queries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LL</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relevant queries based on execution count and resource consumption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stop capturing queries (</a:t>
            </a:r>
            <a:r>
              <a:rPr kumimoji="0" lang="en-US" sz="3600" b="1" i="0" u="none" strike="noStrike" kern="1200" cap="none" spc="0" normalizeH="0" baseline="0" noProof="0" dirty="0">
                <a:ln>
                  <a:noFill/>
                </a:ln>
                <a:solidFill>
                  <a:srgbClr val="000000"/>
                </a:solidFill>
                <a:effectLst/>
                <a:uLnTx/>
                <a:uFillTx/>
                <a:latin typeface="Segoe UI"/>
                <a:ea typeface="+mn-ea"/>
                <a:cs typeface="+mn-cs"/>
              </a:rPr>
              <a:t>NONE</a:t>
            </a:r>
            <a:r>
              <a:rPr kumimoji="0" lang="en-US" sz="3600" b="0" i="0" u="none" strike="noStrike" kern="1200" cap="none" spc="0" normalizeH="0" baseline="0" noProof="0" dirty="0">
                <a:ln>
                  <a:noFill/>
                </a:ln>
                <a:solidFill>
                  <a:srgbClr val="000000"/>
                </a:solidFill>
                <a:effectLst/>
                <a:uLnTx/>
                <a:uFillTx/>
                <a:latin typeface="Segoe UI"/>
                <a:ea typeface="+mn-ea"/>
                <a:cs typeface="+mn-cs"/>
              </a:rPr>
              <a:t>). SQL Server 2019 introduces an additional (</a:t>
            </a:r>
            <a:r>
              <a:rPr kumimoji="0" lang="en-US" sz="3600" b="1" i="0" u="none" strike="noStrike" kern="1200" cap="none" spc="0" normalizeH="0" baseline="0" noProof="0" dirty="0">
                <a:ln>
                  <a:noFill/>
                </a:ln>
                <a:solidFill>
                  <a:srgbClr val="000000"/>
                </a:solidFill>
                <a:effectLst/>
                <a:uLnTx/>
                <a:uFillTx/>
                <a:latin typeface="Segoe UI"/>
                <a:ea typeface="+mn-ea"/>
                <a:cs typeface="+mn-cs"/>
              </a:rPr>
              <a:t>CUSTOM</a:t>
            </a:r>
            <a:r>
              <a:rPr kumimoji="0" lang="en-US" sz="3600" b="0" i="0" u="none" strike="noStrike" kern="1200" cap="none" spc="0" normalizeH="0" baseline="0" noProof="0" dirty="0">
                <a:ln>
                  <a:noFill/>
                </a:ln>
                <a:solidFill>
                  <a:srgbClr val="000000"/>
                </a:solidFill>
                <a:effectLst/>
                <a:uLnTx/>
                <a:uFillTx/>
                <a:latin typeface="Segoe UI"/>
                <a:ea typeface="+mn-ea"/>
                <a:cs typeface="+mn-cs"/>
              </a:rPr>
              <a:t>) setting.</a:t>
            </a:r>
          </a:p>
        </p:txBody>
      </p:sp>
      <p:sp>
        <p:nvSpPr>
          <p:cNvPr id="5" name="TextBox 4">
            <a:extLst>
              <a:ext uri="{FF2B5EF4-FFF2-40B4-BE49-F238E27FC236}">
                <a16:creationId xmlns:a16="http://schemas.microsoft.com/office/drawing/2014/main" id="{F12A0C4D-DF6D-641B-35B2-6A41FE0CEED5}"/>
              </a:ext>
            </a:extLst>
          </p:cNvPr>
          <p:cNvSpPr txBox="1"/>
          <p:nvPr/>
        </p:nvSpPr>
        <p:spPr>
          <a:xfrm>
            <a:off x="5204638" y="3754967"/>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842309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52719"/>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4793672"/>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389" y="4857252"/>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C5854E9A-EEC0-4C3B-989B-251C107F9C81}"/>
              </a:ext>
            </a:extLst>
          </p:cNvPr>
          <p:cNvSpPr txBox="1">
            <a:spLocks/>
          </p:cNvSpPr>
          <p:nvPr/>
        </p:nvSpPr>
        <p:spPr>
          <a:xfrm>
            <a:off x="316687" y="120194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ize Based Cleanup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whether the cleanup process will be automatically activated when the total amount of data gets close to the maximum size.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A0822F1E-10D5-C6AA-C93C-25968DB0C04B}"/>
              </a:ext>
            </a:extLst>
          </p:cNvPr>
          <p:cNvSpPr txBox="1"/>
          <p:nvPr/>
        </p:nvSpPr>
        <p:spPr>
          <a:xfrm>
            <a:off x="5149717" y="3686742"/>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2865817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93644"/>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112326"/>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388" y="5106633"/>
            <a:ext cx="62573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406721" y="131071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Stale Query Threshold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determines the number of days to retain data in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0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and Maximum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67 days</a:t>
            </a:r>
            <a:r>
              <a:rPr kumimoji="0" lang="en-US" sz="3921"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0488A1A6-D065-6735-0653-AB6EED94599D}"/>
              </a:ext>
            </a:extLst>
          </p:cNvPr>
          <p:cNvSpPr txBox="1"/>
          <p:nvPr/>
        </p:nvSpPr>
        <p:spPr>
          <a:xfrm>
            <a:off x="5149717" y="3740193"/>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2031844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704" y="3727667"/>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421014"/>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389" y="5363445"/>
            <a:ext cx="3726629"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351303" y="12060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Wait Statistics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that controls if Query Store captures wait statistics information.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Default = </a:t>
            </a:r>
            <a:r>
              <a:rPr kumimoji="0" lang="en-US" sz="3600" b="1" i="0" u="none" strike="noStrike" kern="1200" cap="none" spc="0" normalizeH="0" baseline="0" noProof="0" dirty="0">
                <a:ln>
                  <a:noFill/>
                </a:ln>
                <a:solidFill>
                  <a:srgbClr val="000000"/>
                </a:solidFill>
                <a:effectLst/>
                <a:uLnTx/>
                <a:uFillTx/>
                <a:latin typeface="Segoe UI"/>
                <a:ea typeface="+mn-ea"/>
                <a:cs typeface="+mn-cs"/>
              </a:rPr>
              <a:t>ON</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p:txBody>
      </p:sp>
      <p:sp>
        <p:nvSpPr>
          <p:cNvPr id="5" name="TextBox 4">
            <a:extLst>
              <a:ext uri="{FF2B5EF4-FFF2-40B4-BE49-F238E27FC236}">
                <a16:creationId xmlns:a16="http://schemas.microsoft.com/office/drawing/2014/main" id="{93E9AA7C-0849-1819-6884-44FEE388F76B}"/>
              </a:ext>
            </a:extLst>
          </p:cNvPr>
          <p:cNvSpPr txBox="1"/>
          <p:nvPr/>
        </p:nvSpPr>
        <p:spPr>
          <a:xfrm>
            <a:off x="5171872" y="3661690"/>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863815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200" b="1"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EXECUTION COUN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a query must exceed within the Stale Threshold time period to be captured by the Query Store.</a:t>
            </a:r>
          </a:p>
        </p:txBody>
      </p:sp>
      <p:grpSp>
        <p:nvGrpSpPr>
          <p:cNvPr id="10" name="Group 9">
            <a:extLst>
              <a:ext uri="{FF2B5EF4-FFF2-40B4-BE49-F238E27FC236}">
                <a16:creationId xmlns:a16="http://schemas.microsoft.com/office/drawing/2014/main" id="{2402AD2D-DF2F-2830-8970-9693121A992C}"/>
              </a:ext>
            </a:extLst>
          </p:cNvPr>
          <p:cNvGrpSpPr/>
          <p:nvPr/>
        </p:nvGrpSpPr>
        <p:grpSpPr>
          <a:xfrm>
            <a:off x="217858" y="4038884"/>
            <a:ext cx="11900284" cy="2091847"/>
            <a:chOff x="342065" y="3901098"/>
            <a:chExt cx="11900284" cy="2091847"/>
          </a:xfrm>
        </p:grpSpPr>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342065" y="4167697"/>
              <a:ext cx="9529469" cy="1265383"/>
            </a:xfrm>
            <a:prstGeom prst="rect">
              <a:avLst/>
            </a:prstGeom>
          </p:spPr>
        </p:pic>
        <p:sp>
          <p:nvSpPr>
            <p:cNvPr id="9" name="Rectangle 8">
              <a:extLst>
                <a:ext uri="{FF2B5EF4-FFF2-40B4-BE49-F238E27FC236}">
                  <a16:creationId xmlns:a16="http://schemas.microsoft.com/office/drawing/2014/main" id="{95467320-4369-8361-F81A-6E18646C2308}"/>
                </a:ext>
              </a:extLst>
            </p:cNvPr>
            <p:cNvSpPr/>
            <p:nvPr/>
          </p:nvSpPr>
          <p:spPr bwMode="auto">
            <a:xfrm>
              <a:off x="5380225" y="3901098"/>
              <a:ext cx="6805808"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69583B8E-04C8-611B-9B7E-8D9835468B17}"/>
                </a:ext>
              </a:extLst>
            </p:cNvPr>
            <p:cNvSpPr txBox="1"/>
            <p:nvPr/>
          </p:nvSpPr>
          <p:spPr>
            <a:xfrm>
              <a:off x="5528399" y="3901098"/>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6" y="4394744"/>
              <a:ext cx="4853509" cy="302515"/>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F2D17CF-8F8C-4FDD-BB64-6F369E158C53}"/>
                </a:ext>
              </a:extLst>
            </p:cNvPr>
            <p:cNvSpPr/>
            <p:nvPr/>
          </p:nvSpPr>
          <p:spPr bwMode="auto">
            <a:xfrm>
              <a:off x="5519536" y="4511910"/>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16837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can be from 1 hour up to 7 days. This setting specifies the time given to exceed the values of the three other settings for a query to be captured.</a:t>
            </a:r>
          </a:p>
        </p:txBody>
      </p:sp>
      <p:grpSp>
        <p:nvGrpSpPr>
          <p:cNvPr id="2" name="Group 1">
            <a:extLst>
              <a:ext uri="{FF2B5EF4-FFF2-40B4-BE49-F238E27FC236}">
                <a16:creationId xmlns:a16="http://schemas.microsoft.com/office/drawing/2014/main" id="{83B6C4AC-24A2-DFF6-EB5E-84CF588FB1D3}"/>
              </a:ext>
            </a:extLst>
          </p:cNvPr>
          <p:cNvGrpSpPr/>
          <p:nvPr/>
        </p:nvGrpSpPr>
        <p:grpSpPr>
          <a:xfrm>
            <a:off x="279961" y="3840576"/>
            <a:ext cx="11868308" cy="2091847"/>
            <a:chOff x="342065" y="3901855"/>
            <a:chExt cx="11993488" cy="2091847"/>
          </a:xfrm>
        </p:grpSpPr>
        <p:pic>
          <p:nvPicPr>
            <p:cNvPr id="4" name="Picture 3">
              <a:extLst>
                <a:ext uri="{FF2B5EF4-FFF2-40B4-BE49-F238E27FC236}">
                  <a16:creationId xmlns:a16="http://schemas.microsoft.com/office/drawing/2014/main" id="{C408EA16-956D-2E3F-15DA-8BF438F18474}"/>
                </a:ext>
              </a:extLst>
            </p:cNvPr>
            <p:cNvPicPr>
              <a:picLocks noChangeAspect="1"/>
            </p:cNvPicPr>
            <p:nvPr/>
          </p:nvPicPr>
          <p:blipFill>
            <a:blip r:embed="rId3"/>
            <a:stretch>
              <a:fillRect/>
            </a:stretch>
          </p:blipFill>
          <p:spPr>
            <a:xfrm>
              <a:off x="342065" y="4167697"/>
              <a:ext cx="9529469" cy="1265383"/>
            </a:xfrm>
            <a:prstGeom prst="rect">
              <a:avLst/>
            </a:prstGeom>
          </p:spPr>
        </p:pic>
        <p:sp>
          <p:nvSpPr>
            <p:cNvPr id="9" name="Rectangle 8">
              <a:extLst>
                <a:ext uri="{FF2B5EF4-FFF2-40B4-BE49-F238E27FC236}">
                  <a16:creationId xmlns:a16="http://schemas.microsoft.com/office/drawing/2014/main" id="{4FE773FE-7983-B2BF-F02F-5601342500D4}"/>
                </a:ext>
              </a:extLst>
            </p:cNvPr>
            <p:cNvSpPr/>
            <p:nvPr/>
          </p:nvSpPr>
          <p:spPr bwMode="auto">
            <a:xfrm>
              <a:off x="5693593" y="3901855"/>
              <a:ext cx="6506021"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1AAE58F4-674F-0DF0-594A-7143F2BEFA6A}"/>
                </a:ext>
              </a:extLst>
            </p:cNvPr>
            <p:cNvSpPr txBox="1"/>
            <p:nvPr/>
          </p:nvSpPr>
          <p:spPr>
            <a:xfrm>
              <a:off x="5621603" y="3902259"/>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11" name="Rectangle 10">
              <a:extLst>
                <a:ext uri="{FF2B5EF4-FFF2-40B4-BE49-F238E27FC236}">
                  <a16:creationId xmlns:a16="http://schemas.microsoft.com/office/drawing/2014/main" id="{4E849B44-D120-1B07-C50B-CFA85C92F44F}"/>
                </a:ext>
              </a:extLst>
            </p:cNvPr>
            <p:cNvSpPr/>
            <p:nvPr/>
          </p:nvSpPr>
          <p:spPr bwMode="auto">
            <a:xfrm>
              <a:off x="679400" y="4645265"/>
              <a:ext cx="50141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0B5F3B1A-54F3-C382-52B1-8392F6A4B613}"/>
                </a:ext>
              </a:extLst>
            </p:cNvPr>
            <p:cNvSpPr/>
            <p:nvPr/>
          </p:nvSpPr>
          <p:spPr bwMode="auto">
            <a:xfrm>
              <a:off x="5798015" y="4762430"/>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586750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Compile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grpSp>
        <p:nvGrpSpPr>
          <p:cNvPr id="13" name="Group 12">
            <a:extLst>
              <a:ext uri="{FF2B5EF4-FFF2-40B4-BE49-F238E27FC236}">
                <a16:creationId xmlns:a16="http://schemas.microsoft.com/office/drawing/2014/main" id="{D8E183BD-D87A-100B-4368-80CA035B6A33}"/>
              </a:ext>
            </a:extLst>
          </p:cNvPr>
          <p:cNvGrpSpPr/>
          <p:nvPr/>
        </p:nvGrpSpPr>
        <p:grpSpPr>
          <a:xfrm>
            <a:off x="279961" y="3840576"/>
            <a:ext cx="11868308" cy="2091847"/>
            <a:chOff x="342065" y="3901855"/>
            <a:chExt cx="11993488" cy="2091847"/>
          </a:xfrm>
        </p:grpSpPr>
        <p:pic>
          <p:nvPicPr>
            <p:cNvPr id="14" name="Picture 13">
              <a:extLst>
                <a:ext uri="{FF2B5EF4-FFF2-40B4-BE49-F238E27FC236}">
                  <a16:creationId xmlns:a16="http://schemas.microsoft.com/office/drawing/2014/main" id="{9B181A8D-3C60-7B38-6E96-956CE877F589}"/>
                </a:ext>
              </a:extLst>
            </p:cNvPr>
            <p:cNvPicPr>
              <a:picLocks noChangeAspect="1"/>
            </p:cNvPicPr>
            <p:nvPr/>
          </p:nvPicPr>
          <p:blipFill>
            <a:blip r:embed="rId2"/>
            <a:stretch>
              <a:fillRect/>
            </a:stretch>
          </p:blipFill>
          <p:spPr>
            <a:xfrm>
              <a:off x="342065" y="4167697"/>
              <a:ext cx="9529469" cy="1265383"/>
            </a:xfrm>
            <a:prstGeom prst="rect">
              <a:avLst/>
            </a:prstGeom>
          </p:spPr>
        </p:pic>
        <p:sp>
          <p:nvSpPr>
            <p:cNvPr id="15" name="Rectangle 14">
              <a:extLst>
                <a:ext uri="{FF2B5EF4-FFF2-40B4-BE49-F238E27FC236}">
                  <a16:creationId xmlns:a16="http://schemas.microsoft.com/office/drawing/2014/main" id="{8593376C-190A-A261-824F-828815A09C2D}"/>
                </a:ext>
              </a:extLst>
            </p:cNvPr>
            <p:cNvSpPr/>
            <p:nvPr/>
          </p:nvSpPr>
          <p:spPr bwMode="auto">
            <a:xfrm>
              <a:off x="5693593" y="3901855"/>
              <a:ext cx="6506021"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1B80C483-317F-3D37-EB3F-3257A244B0C1}"/>
                </a:ext>
              </a:extLst>
            </p:cNvPr>
            <p:cNvSpPr txBox="1"/>
            <p:nvPr/>
          </p:nvSpPr>
          <p:spPr>
            <a:xfrm>
              <a:off x="5621603" y="3902259"/>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17" name="Rectangle 16">
              <a:extLst>
                <a:ext uri="{FF2B5EF4-FFF2-40B4-BE49-F238E27FC236}">
                  <a16:creationId xmlns:a16="http://schemas.microsoft.com/office/drawing/2014/main" id="{8D67DD16-337B-CBF3-F88E-CFA838084D4E}"/>
                </a:ext>
              </a:extLst>
            </p:cNvPr>
            <p:cNvSpPr/>
            <p:nvPr/>
          </p:nvSpPr>
          <p:spPr bwMode="auto">
            <a:xfrm>
              <a:off x="679400" y="4895785"/>
              <a:ext cx="50141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A6D4C3E9-17AE-E54D-A92C-E5412D40578F}"/>
                </a:ext>
              </a:extLst>
            </p:cNvPr>
            <p:cNvSpPr/>
            <p:nvPr/>
          </p:nvSpPr>
          <p:spPr bwMode="auto">
            <a:xfrm>
              <a:off x="5798015" y="5050528"/>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86336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Execution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grpSp>
        <p:nvGrpSpPr>
          <p:cNvPr id="13" name="Group 12">
            <a:extLst>
              <a:ext uri="{FF2B5EF4-FFF2-40B4-BE49-F238E27FC236}">
                <a16:creationId xmlns:a16="http://schemas.microsoft.com/office/drawing/2014/main" id="{3838DC3D-019A-F016-89A6-12045291DC9E}"/>
              </a:ext>
            </a:extLst>
          </p:cNvPr>
          <p:cNvGrpSpPr/>
          <p:nvPr/>
        </p:nvGrpSpPr>
        <p:grpSpPr>
          <a:xfrm>
            <a:off x="279961" y="3840576"/>
            <a:ext cx="11868308" cy="2091847"/>
            <a:chOff x="342065" y="3901855"/>
            <a:chExt cx="11993488" cy="2091847"/>
          </a:xfrm>
        </p:grpSpPr>
        <p:pic>
          <p:nvPicPr>
            <p:cNvPr id="14" name="Picture 13">
              <a:extLst>
                <a:ext uri="{FF2B5EF4-FFF2-40B4-BE49-F238E27FC236}">
                  <a16:creationId xmlns:a16="http://schemas.microsoft.com/office/drawing/2014/main" id="{B3F92335-CFFB-9489-7E86-58BBE2D81578}"/>
                </a:ext>
              </a:extLst>
            </p:cNvPr>
            <p:cNvPicPr>
              <a:picLocks noChangeAspect="1"/>
            </p:cNvPicPr>
            <p:nvPr/>
          </p:nvPicPr>
          <p:blipFill>
            <a:blip r:embed="rId2"/>
            <a:stretch>
              <a:fillRect/>
            </a:stretch>
          </p:blipFill>
          <p:spPr>
            <a:xfrm>
              <a:off x="342065" y="4167697"/>
              <a:ext cx="9529469" cy="1265383"/>
            </a:xfrm>
            <a:prstGeom prst="rect">
              <a:avLst/>
            </a:prstGeom>
          </p:spPr>
        </p:pic>
        <p:sp>
          <p:nvSpPr>
            <p:cNvPr id="15" name="Rectangle 14">
              <a:extLst>
                <a:ext uri="{FF2B5EF4-FFF2-40B4-BE49-F238E27FC236}">
                  <a16:creationId xmlns:a16="http://schemas.microsoft.com/office/drawing/2014/main" id="{AC494AEE-AA2A-A0C7-B4B9-EC9B85C4EFB8}"/>
                </a:ext>
              </a:extLst>
            </p:cNvPr>
            <p:cNvSpPr/>
            <p:nvPr/>
          </p:nvSpPr>
          <p:spPr bwMode="auto">
            <a:xfrm>
              <a:off x="5693593" y="3901855"/>
              <a:ext cx="6506021"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6959A702-E557-17E7-BEA1-E98382653792}"/>
                </a:ext>
              </a:extLst>
            </p:cNvPr>
            <p:cNvSpPr txBox="1"/>
            <p:nvPr/>
          </p:nvSpPr>
          <p:spPr>
            <a:xfrm>
              <a:off x="5621603" y="3902259"/>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17" name="Rectangle 16">
              <a:extLst>
                <a:ext uri="{FF2B5EF4-FFF2-40B4-BE49-F238E27FC236}">
                  <a16:creationId xmlns:a16="http://schemas.microsoft.com/office/drawing/2014/main" id="{3AB07297-F002-1C95-E034-B2BBA7617C69}"/>
                </a:ext>
              </a:extLst>
            </p:cNvPr>
            <p:cNvSpPr/>
            <p:nvPr/>
          </p:nvSpPr>
          <p:spPr bwMode="auto">
            <a:xfrm>
              <a:off x="679400" y="5146305"/>
              <a:ext cx="50141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199BEE36-910B-11F7-8810-B25C289A1DBD}"/>
                </a:ext>
              </a:extLst>
            </p:cNvPr>
            <p:cNvSpPr/>
            <p:nvPr/>
          </p:nvSpPr>
          <p:spPr bwMode="auto">
            <a:xfrm>
              <a:off x="5798015" y="5313574"/>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26717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3"/>
            <a:ext cx="10972800" cy="474041"/>
          </a:xfrm>
        </p:spPr>
        <p:txBody>
          <a:bodyPr/>
          <a:lstStyle/>
          <a:p>
            <a:r>
              <a:rPr lang="en-US" sz="3200" dirty="0"/>
              <a:t>Purge</a:t>
            </a:r>
            <a:r>
              <a:rPr lang="en-US" dirty="0"/>
              <a:t> </a:t>
            </a:r>
            <a:r>
              <a:rPr lang="en-US" sz="3200" dirty="0"/>
              <a:t>Query</a:t>
            </a:r>
            <a:r>
              <a:rPr lang="en-US" dirty="0"/>
              <a:t> </a:t>
            </a:r>
            <a:r>
              <a:rPr lang="en-US" sz="3200" dirty="0"/>
              <a:t>Data</a:t>
            </a:r>
          </a:p>
        </p:txBody>
      </p:sp>
      <p:pic>
        <p:nvPicPr>
          <p:cNvPr id="11" name="Picture 10">
            <a:extLst>
              <a:ext uri="{FF2B5EF4-FFF2-40B4-BE49-F238E27FC236}">
                <a16:creationId xmlns:a16="http://schemas.microsoft.com/office/drawing/2014/main" id="{AC8F1D11-605A-48F6-B8BB-B60B59686032}"/>
              </a:ext>
            </a:extLst>
          </p:cNvPr>
          <p:cNvPicPr>
            <a:picLocks noChangeAspect="1"/>
          </p:cNvPicPr>
          <p:nvPr/>
        </p:nvPicPr>
        <p:blipFill>
          <a:blip r:embed="rId2"/>
          <a:stretch>
            <a:fillRect/>
          </a:stretch>
        </p:blipFill>
        <p:spPr>
          <a:xfrm>
            <a:off x="568047" y="2329380"/>
            <a:ext cx="7407427" cy="3691649"/>
          </a:xfrm>
          <a:prstGeom prst="rect">
            <a:avLst/>
          </a:prstGeom>
          <a:ln>
            <a:noFill/>
          </a:ln>
          <a:effectLst>
            <a:outerShdw blurRad="190500" algn="tl" rotWithShape="0">
              <a:srgbClr val="000000">
                <a:alpha val="70000"/>
              </a:srgbClr>
            </a:outerShdw>
          </a:effectLst>
        </p:spPr>
      </p:pic>
      <p:sp>
        <p:nvSpPr>
          <p:cNvPr id="12" name="Text Placeholder 4">
            <a:extLst>
              <a:ext uri="{FF2B5EF4-FFF2-40B4-BE49-F238E27FC236}">
                <a16:creationId xmlns:a16="http://schemas.microsoft.com/office/drawing/2014/main" id="{5BD04553-5E17-4BA9-9138-48D4BBB63F12}"/>
              </a:ext>
            </a:extLst>
          </p:cNvPr>
          <p:cNvSpPr txBox="1">
            <a:spLocks/>
          </p:cNvSpPr>
          <p:nvPr/>
        </p:nvSpPr>
        <p:spPr>
          <a:xfrm>
            <a:off x="406721" y="1028683"/>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dirty="0">
                <a:ln>
                  <a:noFill/>
                </a:ln>
                <a:solidFill>
                  <a:srgbClr val="000000"/>
                </a:solidFill>
                <a:effectLst/>
                <a:uLnTx/>
                <a:uFillTx/>
                <a:latin typeface="Segoe UI"/>
                <a:ea typeface="+mn-ea"/>
                <a:cs typeface="+mn-cs"/>
              </a:rPr>
              <a:t>Data can be manually purged from the Query Store.</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14E0F01-7E44-467E-AB07-B2E1A0C0E311}"/>
              </a:ext>
            </a:extLst>
          </p:cNvPr>
          <p:cNvGrpSpPr/>
          <p:nvPr/>
        </p:nvGrpSpPr>
        <p:grpSpPr>
          <a:xfrm>
            <a:off x="5348979" y="1834479"/>
            <a:ext cx="6200272" cy="971127"/>
            <a:chOff x="4846637" y="2354262"/>
            <a:chExt cx="6324600" cy="990600"/>
          </a:xfrm>
        </p:grpSpPr>
        <p:sp>
          <p:nvSpPr>
            <p:cNvPr id="14" name="Rectangle 13">
              <a:extLst>
                <a:ext uri="{FF2B5EF4-FFF2-40B4-BE49-F238E27FC236}">
                  <a16:creationId xmlns:a16="http://schemas.microsoft.com/office/drawing/2014/main" id="{A634E744-F130-46EF-97C6-CC2F39253B15}"/>
                </a:ext>
              </a:extLst>
            </p:cNvPr>
            <p:cNvSpPr/>
            <p:nvPr/>
          </p:nvSpPr>
          <p:spPr bwMode="auto">
            <a:xfrm>
              <a:off x="4846637" y="2354262"/>
              <a:ext cx="6324600" cy="9906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6B09D871-DF2C-4695-A07B-7B1FE1E521B2}"/>
                </a:ext>
              </a:extLst>
            </p:cNvPr>
            <p:cNvPicPr>
              <a:picLocks noChangeAspect="1"/>
            </p:cNvPicPr>
            <p:nvPr/>
          </p:nvPicPr>
          <p:blipFill>
            <a:blip r:embed="rId3"/>
            <a:stretch>
              <a:fillRect/>
            </a:stretch>
          </p:blipFill>
          <p:spPr>
            <a:xfrm>
              <a:off x="5132387" y="2659062"/>
              <a:ext cx="5734050" cy="400050"/>
            </a:xfrm>
            <a:prstGeom prst="rect">
              <a:avLst/>
            </a:prstGeom>
          </p:spPr>
        </p:pic>
      </p:grpSp>
      <p:cxnSp>
        <p:nvCxnSpPr>
          <p:cNvPr id="16" name="Connector: Elbow 15">
            <a:extLst>
              <a:ext uri="{FF2B5EF4-FFF2-40B4-BE49-F238E27FC236}">
                <a16:creationId xmlns:a16="http://schemas.microsoft.com/office/drawing/2014/main" id="{5CFB137B-8010-4508-A441-EC1B06D3923C}"/>
              </a:ext>
            </a:extLst>
          </p:cNvPr>
          <p:cNvCxnSpPr>
            <a:cxnSpLocks/>
          </p:cNvCxnSpPr>
          <p:nvPr/>
        </p:nvCxnSpPr>
        <p:spPr>
          <a:xfrm rot="5400000">
            <a:off x="7593061" y="2621043"/>
            <a:ext cx="3192579" cy="3049208"/>
          </a:xfrm>
          <a:prstGeom prst="bentConnector3">
            <a:avLst>
              <a:gd name="adj1" fmla="val 99677"/>
            </a:avLst>
          </a:prstGeom>
          <a:ln w="762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657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fr-FR" dirty="0"/>
              <a:t>Lesson 1: SQL Server Plan Cache </a:t>
            </a:r>
            <a:endParaRPr lang="en-US" dirty="0"/>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8A065-D26A-44B7-9DFD-F2A6E315D2EB}"/>
              </a:ext>
            </a:extLst>
          </p:cNvPr>
          <p:cNvSpPr>
            <a:spLocks noGrp="1"/>
          </p:cNvSpPr>
          <p:nvPr>
            <p:ph type="title"/>
          </p:nvPr>
        </p:nvSpPr>
        <p:spPr/>
        <p:txBody>
          <a:bodyPr/>
          <a:lstStyle/>
          <a:p>
            <a:r>
              <a:rPr lang="en-US" dirty="0"/>
              <a:t>Built-in Reports	</a:t>
            </a:r>
          </a:p>
        </p:txBody>
      </p:sp>
      <p:graphicFrame>
        <p:nvGraphicFramePr>
          <p:cNvPr id="5" name="Content Placeholder 4">
            <a:extLst>
              <a:ext uri="{FF2B5EF4-FFF2-40B4-BE49-F238E27FC236}">
                <a16:creationId xmlns:a16="http://schemas.microsoft.com/office/drawing/2014/main" id="{103F0B17-D8FA-472F-9715-D1C7D8D6FE8A}"/>
              </a:ext>
            </a:extLst>
          </p:cNvPr>
          <p:cNvGraphicFramePr>
            <a:graphicFrameLocks noGrp="1"/>
          </p:cNvGraphicFramePr>
          <p:nvPr>
            <p:ph sz="quarter" idx="13"/>
            <p:extLst>
              <p:ext uri="{D42A27DB-BD31-4B8C-83A1-F6EECF244321}">
                <p14:modId xmlns:p14="http://schemas.microsoft.com/office/powerpoint/2010/main" val="2094732739"/>
              </p:ext>
            </p:extLst>
          </p:nvPr>
        </p:nvGraphicFramePr>
        <p:xfrm>
          <a:off x="655638" y="1116420"/>
          <a:ext cx="10880726" cy="45591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0534727D-A49B-4D2D-BD19-C81D0CBC7C3B}"/>
              </a:ext>
            </a:extLst>
          </p:cNvPr>
          <p:cNvSpPr/>
          <p:nvPr/>
        </p:nvSpPr>
        <p:spPr>
          <a:xfrm>
            <a:off x="3470921" y="5835597"/>
            <a:ext cx="5250155" cy="646331"/>
          </a:xfrm>
          <a:prstGeom prst="rect">
            <a:avLst/>
          </a:prstGeom>
          <a:ln>
            <a:solidFill>
              <a:schemeClr val="accent1"/>
            </a:solidFill>
          </a:ln>
        </p:spPr>
        <p:txBody>
          <a:bodyPr wrap="none">
            <a:spAutoFit/>
          </a:bodyPr>
          <a:lstStyle/>
          <a:p>
            <a:r>
              <a:rPr lang="en-US" dirty="0">
                <a:solidFill>
                  <a:srgbClr val="008000"/>
                </a:solidFill>
                <a:latin typeface="Consolas" panose="020B0609020204030204" pitchFamily="49" charset="0"/>
              </a:rPr>
              <a:t>-- Permission to view reports</a:t>
            </a:r>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GRA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VIEW</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O</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lt;</a:t>
            </a:r>
            <a:r>
              <a:rPr lang="en-US" dirty="0">
                <a:solidFill>
                  <a:srgbClr val="000000"/>
                </a:solidFill>
                <a:latin typeface="Consolas" panose="020B0609020204030204" pitchFamily="49" charset="0"/>
              </a:rPr>
              <a:t>UserName</a:t>
            </a:r>
            <a:r>
              <a:rPr lang="en-US" dirty="0">
                <a:solidFill>
                  <a:srgbClr val="808080"/>
                </a:solidFill>
                <a:latin typeface="Consolas" panose="020B0609020204030204" pitchFamily="49" charset="0"/>
              </a:rPr>
              <a:t>&g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5162853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585" y="201839"/>
            <a:ext cx="9337757" cy="474041"/>
          </a:xfrm>
        </p:spPr>
        <p:txBody>
          <a:bodyPr/>
          <a:lstStyle/>
          <a:p>
            <a:r>
              <a:rPr lang="en-GB" sz="3200" dirty="0"/>
              <a:t>Establishing</a:t>
            </a:r>
            <a:r>
              <a:rPr lang="en-GB" dirty="0"/>
              <a:t> </a:t>
            </a:r>
            <a:r>
              <a:rPr lang="en-GB" sz="3200" dirty="0"/>
              <a:t>a</a:t>
            </a:r>
            <a:r>
              <a:rPr lang="en-GB" dirty="0"/>
              <a:t> </a:t>
            </a:r>
            <a:r>
              <a:rPr lang="en-GB" sz="3200" dirty="0"/>
              <a:t>Baseline</a:t>
            </a:r>
            <a:r>
              <a:rPr lang="en-GB" dirty="0"/>
              <a:t> </a:t>
            </a:r>
          </a:p>
        </p:txBody>
      </p:sp>
      <p:pic>
        <p:nvPicPr>
          <p:cNvPr id="8" name="Picture 7">
            <a:extLst>
              <a:ext uri="{FF2B5EF4-FFF2-40B4-BE49-F238E27FC236}">
                <a16:creationId xmlns:a16="http://schemas.microsoft.com/office/drawing/2014/main" id="{7F5C294C-C83F-4B6F-937A-60D6209FB36E}"/>
              </a:ext>
            </a:extLst>
          </p:cNvPr>
          <p:cNvPicPr>
            <a:picLocks noChangeAspect="1"/>
          </p:cNvPicPr>
          <p:nvPr/>
        </p:nvPicPr>
        <p:blipFill>
          <a:blip r:embed="rId3"/>
          <a:stretch>
            <a:fillRect/>
          </a:stretch>
        </p:blipFill>
        <p:spPr>
          <a:xfrm>
            <a:off x="1778235" y="859804"/>
            <a:ext cx="8635530" cy="5388596"/>
          </a:xfrm>
          <a:prstGeom prst="rect">
            <a:avLst/>
          </a:prstGeom>
          <a:ln w="57150">
            <a:solidFill>
              <a:schemeClr val="tx1"/>
            </a:solidFill>
          </a:ln>
        </p:spPr>
      </p:pic>
    </p:spTree>
    <p:extLst>
      <p:ext uri="{BB962C8B-B14F-4D97-AF65-F5344CB8AC3E}">
        <p14:creationId xmlns:p14="http://schemas.microsoft.com/office/powerpoint/2010/main" val="6469355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Force</a:t>
            </a:r>
            <a:r>
              <a:rPr lang="en-GB" dirty="0"/>
              <a:t> </a:t>
            </a:r>
            <a:r>
              <a:rPr lang="en-GB" sz="3200" dirty="0"/>
              <a:t>Plan</a:t>
            </a:r>
          </a:p>
        </p:txBody>
      </p:sp>
      <p:pic>
        <p:nvPicPr>
          <p:cNvPr id="8" name="Picture 7">
            <a:extLst>
              <a:ext uri="{FF2B5EF4-FFF2-40B4-BE49-F238E27FC236}">
                <a16:creationId xmlns:a16="http://schemas.microsoft.com/office/drawing/2014/main" id="{476E2281-765D-4487-A2DF-48D919B53348}"/>
              </a:ext>
            </a:extLst>
          </p:cNvPr>
          <p:cNvPicPr>
            <a:picLocks noChangeAspect="1"/>
          </p:cNvPicPr>
          <p:nvPr/>
        </p:nvPicPr>
        <p:blipFill>
          <a:blip r:embed="rId3"/>
          <a:stretch>
            <a:fillRect/>
          </a:stretch>
        </p:blipFill>
        <p:spPr>
          <a:xfrm>
            <a:off x="642749" y="1638102"/>
            <a:ext cx="10943920" cy="3852916"/>
          </a:xfrm>
          <a:prstGeom prst="rect">
            <a:avLst/>
          </a:prstGeom>
          <a:ln w="57150">
            <a:solidFill>
              <a:schemeClr val="accent5">
                <a:lumMod val="50000"/>
              </a:schemeClr>
            </a:solidFill>
          </a:ln>
          <a:effectLst>
            <a:outerShdw blurRad="50800" dist="38100" dir="5400000" algn="t" rotWithShape="0">
              <a:prstClr val="black">
                <a:alpha val="40000"/>
              </a:prstClr>
            </a:outerShdw>
          </a:effectLst>
        </p:spPr>
      </p:pic>
      <p:sp>
        <p:nvSpPr>
          <p:cNvPr id="9" name="Oval 8">
            <a:extLst>
              <a:ext uri="{FF2B5EF4-FFF2-40B4-BE49-F238E27FC236}">
                <a16:creationId xmlns:a16="http://schemas.microsoft.com/office/drawing/2014/main" id="{2D9D6758-6952-44C1-BF70-76D6636EACA4}"/>
              </a:ext>
            </a:extLst>
          </p:cNvPr>
          <p:cNvSpPr/>
          <p:nvPr/>
        </p:nvSpPr>
        <p:spPr>
          <a:xfrm>
            <a:off x="6266873" y="1366982"/>
            <a:ext cx="1339273"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9">
            <a:extLst>
              <a:ext uri="{FF2B5EF4-FFF2-40B4-BE49-F238E27FC236}">
                <a16:creationId xmlns:a16="http://schemas.microsoft.com/office/drawing/2014/main" id="{B3287310-9A30-4302-97D2-AF144A187555}"/>
              </a:ext>
            </a:extLst>
          </p:cNvPr>
          <p:cNvSpPr/>
          <p:nvPr/>
        </p:nvSpPr>
        <p:spPr>
          <a:xfrm>
            <a:off x="7167418" y="4320361"/>
            <a:ext cx="3094182"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10">
            <a:extLst>
              <a:ext uri="{FF2B5EF4-FFF2-40B4-BE49-F238E27FC236}">
                <a16:creationId xmlns:a16="http://schemas.microsoft.com/office/drawing/2014/main" id="{D8D35513-9B2D-4D2B-BED2-AA3372F6E735}"/>
              </a:ext>
            </a:extLst>
          </p:cNvPr>
          <p:cNvSpPr/>
          <p:nvPr/>
        </p:nvSpPr>
        <p:spPr>
          <a:xfrm>
            <a:off x="10571018" y="3680691"/>
            <a:ext cx="840509" cy="332509"/>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05731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Plan</a:t>
            </a:r>
            <a:r>
              <a:rPr lang="en-GB" dirty="0"/>
              <a:t> </a:t>
            </a:r>
            <a:r>
              <a:rPr lang="en-GB" sz="3200" dirty="0"/>
              <a:t>Compare</a:t>
            </a:r>
            <a:r>
              <a:rPr lang="en-GB" dirty="0"/>
              <a:t> </a:t>
            </a:r>
          </a:p>
        </p:txBody>
      </p:sp>
      <p:pic>
        <p:nvPicPr>
          <p:cNvPr id="6" name="Picture 5" descr="A screenshot of a cell phone&#10;&#10;Description automatically generated">
            <a:extLst>
              <a:ext uri="{FF2B5EF4-FFF2-40B4-BE49-F238E27FC236}">
                <a16:creationId xmlns:a16="http://schemas.microsoft.com/office/drawing/2014/main" id="{3AECECC9-6563-4077-8C8B-37FB5AB77E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9919" y="1096758"/>
            <a:ext cx="9912161" cy="49899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44090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1126" y="141473"/>
            <a:ext cx="10972800" cy="474041"/>
          </a:xfrm>
        </p:spPr>
        <p:txBody>
          <a:bodyPr/>
          <a:lstStyle/>
          <a:p>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2" name="TextBox 1">
            <a:extLst>
              <a:ext uri="{FF2B5EF4-FFF2-40B4-BE49-F238E27FC236}">
                <a16:creationId xmlns:a16="http://schemas.microsoft.com/office/drawing/2014/main" id="{33EF1388-795C-4839-977B-ED7ECAA9245A}"/>
              </a:ext>
            </a:extLst>
          </p:cNvPr>
          <p:cNvSpPr txBox="1"/>
          <p:nvPr/>
        </p:nvSpPr>
        <p:spPr>
          <a:xfrm>
            <a:off x="511354" y="1087120"/>
            <a:ext cx="3495040" cy="21234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aphicFrame>
        <p:nvGraphicFramePr>
          <p:cNvPr id="3" name="Table 4">
            <a:extLst>
              <a:ext uri="{FF2B5EF4-FFF2-40B4-BE49-F238E27FC236}">
                <a16:creationId xmlns:a16="http://schemas.microsoft.com/office/drawing/2014/main" id="{E14A067A-C5BA-42FF-8C2C-97488523FD9E}"/>
              </a:ext>
            </a:extLst>
          </p:cNvPr>
          <p:cNvGraphicFramePr>
            <a:graphicFrameLocks noGrp="1"/>
          </p:cNvGraphicFramePr>
          <p:nvPr/>
        </p:nvGraphicFramePr>
        <p:xfrm>
          <a:off x="51135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dirty="0"/>
                        <a:t>sys.query_store_query_text</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dirty="0"/>
                    </a:p>
                  </a:txBody>
                  <a:tcPr/>
                </a:tc>
                <a:tc>
                  <a:txBody>
                    <a:bodyPr/>
                    <a:lstStyle/>
                    <a:p>
                      <a:r>
                        <a:rPr lang="en-US" dirty="0" err="1"/>
                        <a:t>query_text_id</a:t>
                      </a:r>
                      <a:endParaRPr lang="en-US" dirty="0"/>
                    </a:p>
                  </a:txBody>
                  <a:tcPr/>
                </a:tc>
                <a:extLst>
                  <a:ext uri="{0D108BD9-81ED-4DB2-BD59-A6C34878D82A}">
                    <a16:rowId xmlns:a16="http://schemas.microsoft.com/office/drawing/2014/main" val="307653851"/>
                  </a:ext>
                </a:extLst>
              </a:tr>
              <a:tr h="370840">
                <a:tc>
                  <a:txBody>
                    <a:bodyPr/>
                    <a:lstStyle/>
                    <a:p>
                      <a:endParaRPr lang="en-US"/>
                    </a:p>
                  </a:txBody>
                  <a:tcPr/>
                </a:tc>
                <a:tc>
                  <a:txBody>
                    <a:bodyPr/>
                    <a:lstStyle/>
                    <a:p>
                      <a:r>
                        <a:rPr lang="en-US" dirty="0" err="1"/>
                        <a:t>query_sql_text</a:t>
                      </a:r>
                      <a:endParaRPr lang="en-US" dirty="0"/>
                    </a:p>
                  </a:txBody>
                  <a:tcPr/>
                </a:tc>
                <a:extLst>
                  <a:ext uri="{0D108BD9-81ED-4DB2-BD59-A6C34878D82A}">
                    <a16:rowId xmlns:a16="http://schemas.microsoft.com/office/drawing/2014/main" val="1579922997"/>
                  </a:ext>
                </a:extLst>
              </a:tr>
            </a:tbl>
          </a:graphicData>
        </a:graphic>
      </p:graphicFrame>
      <p:sp>
        <p:nvSpPr>
          <p:cNvPr id="11" name="Graphic 6" descr="Key with solid fill">
            <a:extLst>
              <a:ext uri="{FF2B5EF4-FFF2-40B4-BE49-F238E27FC236}">
                <a16:creationId xmlns:a16="http://schemas.microsoft.com/office/drawing/2014/main" id="{6E62F4DE-6BE4-4F38-9052-44AE7DA2812E}"/>
              </a:ext>
            </a:extLst>
          </p:cNvPr>
          <p:cNvSpPr/>
          <p:nvPr/>
        </p:nvSpPr>
        <p:spPr>
          <a:xfrm>
            <a:off x="64043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3" name="Table 4">
            <a:extLst>
              <a:ext uri="{FF2B5EF4-FFF2-40B4-BE49-F238E27FC236}">
                <a16:creationId xmlns:a16="http://schemas.microsoft.com/office/drawing/2014/main" id="{67D3F5A5-17AA-45C5-BD48-CCF585BE782A}"/>
              </a:ext>
            </a:extLst>
          </p:cNvPr>
          <p:cNvGraphicFramePr>
            <a:graphicFrameLocks noGrp="1"/>
          </p:cNvGraphicFramePr>
          <p:nvPr/>
        </p:nvGraphicFramePr>
        <p:xfrm>
          <a:off x="4463594" y="870453"/>
          <a:ext cx="3291840" cy="148336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query</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query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query_text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1482854906"/>
                  </a:ext>
                </a:extLst>
              </a:tr>
            </a:tbl>
          </a:graphicData>
        </a:graphic>
      </p:graphicFrame>
      <p:sp>
        <p:nvSpPr>
          <p:cNvPr id="15" name="Graphic 6" descr="Key with solid fill">
            <a:extLst>
              <a:ext uri="{FF2B5EF4-FFF2-40B4-BE49-F238E27FC236}">
                <a16:creationId xmlns:a16="http://schemas.microsoft.com/office/drawing/2014/main" id="{3DD499D2-5F03-40AF-AB28-4626F5658B10}"/>
              </a:ext>
            </a:extLst>
          </p:cNvPr>
          <p:cNvSpPr/>
          <p:nvPr/>
        </p:nvSpPr>
        <p:spPr>
          <a:xfrm>
            <a:off x="459267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8" name="Table 4">
            <a:extLst>
              <a:ext uri="{FF2B5EF4-FFF2-40B4-BE49-F238E27FC236}">
                <a16:creationId xmlns:a16="http://schemas.microsoft.com/office/drawing/2014/main" id="{4E5A852E-0F08-4685-B9C7-47919F7E9F99}"/>
              </a:ext>
            </a:extLst>
          </p:cNvPr>
          <p:cNvGraphicFramePr>
            <a:graphicFrameLocks noGrp="1"/>
          </p:cNvGraphicFramePr>
          <p:nvPr/>
        </p:nvGraphicFramePr>
        <p:xfrm>
          <a:off x="832439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plan</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query__id</a:t>
                      </a:r>
                      <a:endParaRPr lang="en-US" sz="1800" dirty="0"/>
                    </a:p>
                  </a:txBody>
                  <a:tcPr/>
                </a:tc>
                <a:extLst>
                  <a:ext uri="{0D108BD9-81ED-4DB2-BD59-A6C34878D82A}">
                    <a16:rowId xmlns:a16="http://schemas.microsoft.com/office/drawing/2014/main" val="1579922997"/>
                  </a:ext>
                </a:extLst>
              </a:tr>
            </a:tbl>
          </a:graphicData>
        </a:graphic>
      </p:graphicFrame>
      <p:sp>
        <p:nvSpPr>
          <p:cNvPr id="20" name="Graphic 6" descr="Key with solid fill">
            <a:extLst>
              <a:ext uri="{FF2B5EF4-FFF2-40B4-BE49-F238E27FC236}">
                <a16:creationId xmlns:a16="http://schemas.microsoft.com/office/drawing/2014/main" id="{D67D5A25-5C14-4002-AE18-FCEFB5ED2AE9}"/>
              </a:ext>
            </a:extLst>
          </p:cNvPr>
          <p:cNvSpPr/>
          <p:nvPr/>
        </p:nvSpPr>
        <p:spPr>
          <a:xfrm>
            <a:off x="8476794" y="1324412"/>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2" name="Table 4">
            <a:extLst>
              <a:ext uri="{FF2B5EF4-FFF2-40B4-BE49-F238E27FC236}">
                <a16:creationId xmlns:a16="http://schemas.microsoft.com/office/drawing/2014/main" id="{9C687EF6-AAC7-4CAB-A2C0-D7F8A3EE342D}"/>
              </a:ext>
            </a:extLst>
          </p:cNvPr>
          <p:cNvGraphicFramePr>
            <a:graphicFrameLocks noGrp="1"/>
          </p:cNvGraphicFramePr>
          <p:nvPr/>
        </p:nvGraphicFramePr>
        <p:xfrm>
          <a:off x="511354" y="2341880"/>
          <a:ext cx="3291840" cy="74168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context_setting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307653851"/>
                  </a:ext>
                </a:extLst>
              </a:tr>
            </a:tbl>
          </a:graphicData>
        </a:graphic>
      </p:graphicFrame>
      <p:sp>
        <p:nvSpPr>
          <p:cNvPr id="24" name="Graphic 6" descr="Key with solid fill">
            <a:extLst>
              <a:ext uri="{FF2B5EF4-FFF2-40B4-BE49-F238E27FC236}">
                <a16:creationId xmlns:a16="http://schemas.microsoft.com/office/drawing/2014/main" id="{F27A92E1-0810-4500-9E12-275EF5CBE720}"/>
              </a:ext>
            </a:extLst>
          </p:cNvPr>
          <p:cNvSpPr/>
          <p:nvPr/>
        </p:nvSpPr>
        <p:spPr>
          <a:xfrm>
            <a:off x="663754" y="2795839"/>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6" name="Table 4">
            <a:extLst>
              <a:ext uri="{FF2B5EF4-FFF2-40B4-BE49-F238E27FC236}">
                <a16:creationId xmlns:a16="http://schemas.microsoft.com/office/drawing/2014/main" id="{BF3D743A-A795-4736-AC3C-89C9316C2E85}"/>
              </a:ext>
            </a:extLst>
          </p:cNvPr>
          <p:cNvGraphicFramePr>
            <a:graphicFrameLocks noGrp="1"/>
          </p:cNvGraphicFramePr>
          <p:nvPr/>
        </p:nvGraphicFramePr>
        <p:xfrm>
          <a:off x="4352380" y="2975764"/>
          <a:ext cx="3586480" cy="110744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a:t>
                      </a:r>
                    </a:p>
                  </a:txBody>
                  <a:tcPr/>
                </a:tc>
                <a:tc hMerge="1">
                  <a:txBody>
                    <a:bodyPr/>
                    <a:lstStyle/>
                    <a:p>
                      <a:endParaRPr lang="en-US" dirty="0"/>
                    </a:p>
                  </a:txBody>
                  <a:tcPr/>
                </a:tc>
                <a:extLst>
                  <a:ext uri="{0D108BD9-81ED-4DB2-BD59-A6C34878D82A}">
                    <a16:rowId xmlns:a16="http://schemas.microsoft.com/office/drawing/2014/main" val="981022766"/>
                  </a:ext>
                </a:extLst>
              </a:tr>
              <a:tr h="270356">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1579922997"/>
                  </a:ext>
                </a:extLst>
              </a:tr>
            </a:tbl>
          </a:graphicData>
        </a:graphic>
      </p:graphicFrame>
      <p:sp>
        <p:nvSpPr>
          <p:cNvPr id="28" name="Graphic 6" descr="Key with solid fill">
            <a:extLst>
              <a:ext uri="{FF2B5EF4-FFF2-40B4-BE49-F238E27FC236}">
                <a16:creationId xmlns:a16="http://schemas.microsoft.com/office/drawing/2014/main" id="{87F140C2-3F17-40AB-94C1-435594855AA3}"/>
              </a:ext>
            </a:extLst>
          </p:cNvPr>
          <p:cNvSpPr/>
          <p:nvPr/>
        </p:nvSpPr>
        <p:spPr>
          <a:xfrm>
            <a:off x="4473754" y="343525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0" name="Table 4">
            <a:extLst>
              <a:ext uri="{FF2B5EF4-FFF2-40B4-BE49-F238E27FC236}">
                <a16:creationId xmlns:a16="http://schemas.microsoft.com/office/drawing/2014/main" id="{036229D9-8A71-4C2A-B234-7D36471D9BBE}"/>
              </a:ext>
            </a:extLst>
          </p:cNvPr>
          <p:cNvGraphicFramePr>
            <a:graphicFrameLocks noGrp="1"/>
          </p:cNvGraphicFramePr>
          <p:nvPr/>
        </p:nvGraphicFramePr>
        <p:xfrm>
          <a:off x="8324394" y="2732306"/>
          <a:ext cx="3586480" cy="148336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wait_stat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waits_stats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439171611"/>
                  </a:ext>
                </a:extLst>
              </a:tr>
            </a:tbl>
          </a:graphicData>
        </a:graphic>
      </p:graphicFrame>
      <p:sp>
        <p:nvSpPr>
          <p:cNvPr id="32" name="Graphic 6" descr="Key with solid fill">
            <a:extLst>
              <a:ext uri="{FF2B5EF4-FFF2-40B4-BE49-F238E27FC236}">
                <a16:creationId xmlns:a16="http://schemas.microsoft.com/office/drawing/2014/main" id="{4AAB5E85-9238-43D5-A3EE-2776F3CD22D5}"/>
              </a:ext>
            </a:extLst>
          </p:cNvPr>
          <p:cNvSpPr/>
          <p:nvPr/>
        </p:nvSpPr>
        <p:spPr>
          <a:xfrm>
            <a:off x="8476794" y="3186265"/>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4" name="Table 4">
            <a:extLst>
              <a:ext uri="{FF2B5EF4-FFF2-40B4-BE49-F238E27FC236}">
                <a16:creationId xmlns:a16="http://schemas.microsoft.com/office/drawing/2014/main" id="{A8F3D452-ECCD-443A-9622-21F01C523ED9}"/>
              </a:ext>
            </a:extLst>
          </p:cNvPr>
          <p:cNvGraphicFramePr>
            <a:graphicFrameLocks noGrp="1"/>
          </p:cNvGraphicFramePr>
          <p:nvPr/>
        </p:nvGraphicFramePr>
        <p:xfrm>
          <a:off x="6030774" y="4588708"/>
          <a:ext cx="4396740" cy="1483360"/>
        </p:xfrm>
        <a:graphic>
          <a:graphicData uri="http://schemas.openxmlformats.org/drawingml/2006/table">
            <a:tbl>
              <a:tblPr firstRow="1" bandRow="1">
                <a:tableStyleId>{00A15C55-8517-42AA-B614-E9B94910E393}</a:tableStyleId>
              </a:tblPr>
              <a:tblGrid>
                <a:gridCol w="747397">
                  <a:extLst>
                    <a:ext uri="{9D8B030D-6E8A-4147-A177-3AD203B41FA5}">
                      <a16:colId xmlns:a16="http://schemas.microsoft.com/office/drawing/2014/main" val="2795158374"/>
                    </a:ext>
                  </a:extLst>
                </a:gridCol>
                <a:gridCol w="3649343">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_interval</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start_time</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End_time</a:t>
                      </a:r>
                      <a:endParaRPr lang="en-US" sz="1800" dirty="0"/>
                    </a:p>
                  </a:txBody>
                  <a:tcPr/>
                </a:tc>
                <a:extLst>
                  <a:ext uri="{0D108BD9-81ED-4DB2-BD59-A6C34878D82A}">
                    <a16:rowId xmlns:a16="http://schemas.microsoft.com/office/drawing/2014/main" val="3439171611"/>
                  </a:ext>
                </a:extLst>
              </a:tr>
            </a:tbl>
          </a:graphicData>
        </a:graphic>
      </p:graphicFrame>
      <p:sp>
        <p:nvSpPr>
          <p:cNvPr id="36" name="Graphic 6" descr="Key with solid fill">
            <a:extLst>
              <a:ext uri="{FF2B5EF4-FFF2-40B4-BE49-F238E27FC236}">
                <a16:creationId xmlns:a16="http://schemas.microsoft.com/office/drawing/2014/main" id="{CA859494-ACFF-4721-834E-1121DCA981E1}"/>
              </a:ext>
            </a:extLst>
          </p:cNvPr>
          <p:cNvSpPr/>
          <p:nvPr/>
        </p:nvSpPr>
        <p:spPr>
          <a:xfrm>
            <a:off x="6226354" y="5042667"/>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24E0AB23-62E3-43EB-A21F-FDA032AA6892}"/>
              </a:ext>
            </a:extLst>
          </p:cNvPr>
          <p:cNvSpPr txBox="1"/>
          <p:nvPr/>
        </p:nvSpPr>
        <p:spPr>
          <a:xfrm>
            <a:off x="830580" y="3800167"/>
            <a:ext cx="2667814" cy="83099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Query Store Information</a:t>
            </a:r>
          </a:p>
        </p:txBody>
      </p:sp>
      <p:sp>
        <p:nvSpPr>
          <p:cNvPr id="39" name="TextBox 38">
            <a:extLst>
              <a:ext uri="{FF2B5EF4-FFF2-40B4-BE49-F238E27FC236}">
                <a16:creationId xmlns:a16="http://schemas.microsoft.com/office/drawing/2014/main" id="{655CDC87-71D1-43E6-BE51-4C6E346B444A}"/>
              </a:ext>
            </a:extLst>
          </p:cNvPr>
          <p:cNvSpPr txBox="1"/>
          <p:nvPr/>
        </p:nvSpPr>
        <p:spPr>
          <a:xfrm>
            <a:off x="811986" y="4878277"/>
            <a:ext cx="2667814" cy="830997"/>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Compile Time Information</a:t>
            </a:r>
          </a:p>
        </p:txBody>
      </p:sp>
      <p:cxnSp>
        <p:nvCxnSpPr>
          <p:cNvPr id="41" name="Connector: Elbow 40">
            <a:extLst>
              <a:ext uri="{FF2B5EF4-FFF2-40B4-BE49-F238E27FC236}">
                <a16:creationId xmlns:a16="http://schemas.microsoft.com/office/drawing/2014/main" id="{F18FBD71-E38E-4AF7-A270-88C4ED5165CC}"/>
              </a:ext>
            </a:extLst>
          </p:cNvPr>
          <p:cNvCxnSpPr>
            <a:cxnSpLocks/>
          </p:cNvCxnSpPr>
          <p:nvPr/>
        </p:nvCxnSpPr>
        <p:spPr>
          <a:xfrm>
            <a:off x="3498394" y="1422400"/>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4FDE86F0-934B-4501-99A6-D15B4A5E7DFF}"/>
              </a:ext>
            </a:extLst>
          </p:cNvPr>
          <p:cNvCxnSpPr>
            <a:cxnSpLocks/>
          </p:cNvCxnSpPr>
          <p:nvPr/>
        </p:nvCxnSpPr>
        <p:spPr>
          <a:xfrm flipV="1">
            <a:off x="3569832" y="2177549"/>
            <a:ext cx="1113472" cy="737312"/>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6629526-8D65-45A1-9355-53BAC384770D}"/>
              </a:ext>
            </a:extLst>
          </p:cNvPr>
          <p:cNvCxnSpPr>
            <a:cxnSpLocks/>
          </p:cNvCxnSpPr>
          <p:nvPr/>
        </p:nvCxnSpPr>
        <p:spPr>
          <a:xfrm>
            <a:off x="7344182" y="1431694"/>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2F873D41-5493-4A58-BD4F-277927D8FCFD}"/>
              </a:ext>
            </a:extLst>
          </p:cNvPr>
          <p:cNvCxnSpPr>
            <a:cxnSpLocks/>
            <a:stCxn id="18" idx="3"/>
          </p:cNvCxnSpPr>
          <p:nvPr/>
        </p:nvCxnSpPr>
        <p:spPr>
          <a:xfrm flipH="1">
            <a:off x="11370400" y="1426713"/>
            <a:ext cx="245834" cy="2281686"/>
          </a:xfrm>
          <a:prstGeom prst="bentConnector4">
            <a:avLst>
              <a:gd name="adj1" fmla="val -159116"/>
              <a:gd name="adj2" fmla="val 100039"/>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DA858DF6-6240-4C44-8EF1-F08447C75F6F}"/>
              </a:ext>
            </a:extLst>
          </p:cNvPr>
          <p:cNvCxnSpPr>
            <a:cxnSpLocks/>
            <a:stCxn id="18" idx="1"/>
            <a:endCxn id="26" idx="3"/>
          </p:cNvCxnSpPr>
          <p:nvPr/>
        </p:nvCxnSpPr>
        <p:spPr>
          <a:xfrm rot="10800000" flipV="1">
            <a:off x="7938860" y="1426712"/>
            <a:ext cx="385534" cy="2102771"/>
          </a:xfrm>
          <a:prstGeom prst="bentConnector3">
            <a:avLst>
              <a:gd name="adj1" fmla="val 50000"/>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112963D2-B81A-437C-974E-3D83FCB50D98}"/>
              </a:ext>
            </a:extLst>
          </p:cNvPr>
          <p:cNvCxnSpPr>
            <a:cxnSpLocks/>
          </p:cNvCxnSpPr>
          <p:nvPr/>
        </p:nvCxnSpPr>
        <p:spPr>
          <a:xfrm rot="10800000" flipV="1">
            <a:off x="9949994" y="4081441"/>
            <a:ext cx="1798320" cy="1040916"/>
          </a:xfrm>
          <a:prstGeom prst="bentConnector3">
            <a:avLst>
              <a:gd name="adj1" fmla="val -11582"/>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6FFF5B10-E9DE-46E0-8AB8-AD0C31662727}"/>
              </a:ext>
            </a:extLst>
          </p:cNvPr>
          <p:cNvCxnSpPr>
            <a:cxnSpLocks/>
          </p:cNvCxnSpPr>
          <p:nvPr/>
        </p:nvCxnSpPr>
        <p:spPr>
          <a:xfrm>
            <a:off x="4638040" y="3885234"/>
            <a:ext cx="1443534" cy="1274130"/>
          </a:xfrm>
          <a:prstGeom prst="bentConnector3">
            <a:avLst>
              <a:gd name="adj1" fmla="val -28125"/>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0952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8220-D8B1-49CC-9566-02F4E21AEB39}"/>
              </a:ext>
            </a:extLst>
          </p:cNvPr>
          <p:cNvSpPr>
            <a:spLocks noGrp="1"/>
          </p:cNvSpPr>
          <p:nvPr>
            <p:ph type="title"/>
          </p:nvPr>
        </p:nvSpPr>
        <p:spPr/>
        <p:txBody>
          <a:bodyPr/>
          <a:lstStyle/>
          <a:p>
            <a:r>
              <a:rPr lang="en-US" dirty="0"/>
              <a:t>Runtime Metrics and Statistics</a:t>
            </a:r>
          </a:p>
        </p:txBody>
      </p:sp>
      <p:graphicFrame>
        <p:nvGraphicFramePr>
          <p:cNvPr id="7" name="Content Placeholder 6">
            <a:extLst>
              <a:ext uri="{FF2B5EF4-FFF2-40B4-BE49-F238E27FC236}">
                <a16:creationId xmlns:a16="http://schemas.microsoft.com/office/drawing/2014/main" id="{07B58EF0-D344-4EB4-BD4B-728143E8897D}"/>
              </a:ext>
            </a:extLst>
          </p:cNvPr>
          <p:cNvGraphicFramePr>
            <a:graphicFrameLocks noGrp="1"/>
          </p:cNvGraphicFramePr>
          <p:nvPr>
            <p:ph sz="quarter" idx="14"/>
          </p:nvPr>
        </p:nvGraphicFramePr>
        <p:xfrm>
          <a:off x="6251576" y="1408113"/>
          <a:ext cx="528478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ontent Placeholder 2">
            <a:extLst>
              <a:ext uri="{FF2B5EF4-FFF2-40B4-BE49-F238E27FC236}">
                <a16:creationId xmlns:a16="http://schemas.microsoft.com/office/drawing/2014/main" id="{F6F15AC0-3B52-6556-8D8E-AEE055085D68}"/>
              </a:ext>
            </a:extLst>
          </p:cNvPr>
          <p:cNvSpPr>
            <a:spLocks noGrp="1"/>
          </p:cNvSpPr>
          <p:nvPr>
            <p:ph sz="quarter" idx="13"/>
          </p:nvPr>
        </p:nvSpPr>
        <p:spPr>
          <a:xfrm>
            <a:off x="655638" y="1189903"/>
            <a:ext cx="5284787" cy="4819650"/>
          </a:xfrm>
        </p:spPr>
        <p:txBody>
          <a:bodyPr>
            <a:noAutofit/>
          </a:bodyPr>
          <a:lstStyle/>
          <a:p>
            <a:pPr marL="285750" lvl="0" indent="-285750">
              <a:buFont typeface="Arial" panose="020B0604020202020204" pitchFamily="34" charset="0"/>
              <a:buChar char="•"/>
            </a:pPr>
            <a:r>
              <a:rPr lang="en-US" sz="2000" baseline="0" dirty="0"/>
              <a:t>Execution count</a:t>
            </a:r>
            <a:endParaRPr lang="en-US" sz="2000" dirty="0"/>
          </a:p>
          <a:p>
            <a:pPr marL="285750" lvl="0" indent="-285750">
              <a:buFont typeface="Arial" panose="020B0604020202020204" pitchFamily="34" charset="0"/>
              <a:buChar char="•"/>
            </a:pPr>
            <a:r>
              <a:rPr lang="en-US" sz="2000" baseline="0" dirty="0"/>
              <a:t>Duration</a:t>
            </a:r>
            <a:endParaRPr lang="en-US" sz="2000" dirty="0"/>
          </a:p>
          <a:p>
            <a:pPr marL="285750" lvl="0" indent="-285750">
              <a:buFont typeface="Arial" panose="020B0604020202020204" pitchFamily="34" charset="0"/>
              <a:buChar char="•"/>
            </a:pPr>
            <a:r>
              <a:rPr lang="en-US" sz="2000" baseline="0" dirty="0"/>
              <a:t>CPU</a:t>
            </a:r>
            <a:endParaRPr lang="en-US" sz="2000" dirty="0"/>
          </a:p>
          <a:p>
            <a:pPr marL="285750" lvl="0" indent="-285750">
              <a:buFont typeface="Arial" panose="020B0604020202020204" pitchFamily="34" charset="0"/>
              <a:buChar char="•"/>
            </a:pPr>
            <a:r>
              <a:rPr lang="en-US" sz="2000" baseline="0" dirty="0"/>
              <a:t>Logical reads</a:t>
            </a:r>
            <a:endParaRPr lang="en-US" sz="2000" dirty="0"/>
          </a:p>
          <a:p>
            <a:pPr marL="285750" lvl="0" indent="-285750">
              <a:buFont typeface="Arial" panose="020B0604020202020204" pitchFamily="34" charset="0"/>
              <a:buChar char="•"/>
            </a:pPr>
            <a:r>
              <a:rPr lang="en-US" sz="2000" baseline="0" dirty="0"/>
              <a:t>Logical writes</a:t>
            </a:r>
            <a:endParaRPr lang="en-US" sz="2000" dirty="0"/>
          </a:p>
          <a:p>
            <a:pPr marL="285750" lvl="0" indent="-285750">
              <a:buFont typeface="Arial" panose="020B0604020202020204" pitchFamily="34" charset="0"/>
              <a:buChar char="•"/>
            </a:pPr>
            <a:r>
              <a:rPr lang="en-US" sz="2000" baseline="0" dirty="0"/>
              <a:t>Physical reads</a:t>
            </a:r>
            <a:endParaRPr lang="en-US" sz="2000" dirty="0"/>
          </a:p>
          <a:p>
            <a:pPr marL="285750" lvl="0" indent="-285750">
              <a:buFont typeface="Arial" panose="020B0604020202020204" pitchFamily="34" charset="0"/>
              <a:buChar char="•"/>
            </a:pPr>
            <a:r>
              <a:rPr lang="en-US" sz="2000" baseline="0" dirty="0"/>
              <a:t>CLR Time</a:t>
            </a:r>
            <a:endParaRPr lang="en-US" sz="2000" dirty="0"/>
          </a:p>
          <a:p>
            <a:pPr marL="285750" lvl="0" indent="-285750">
              <a:buFont typeface="Arial" panose="020B0604020202020204" pitchFamily="34" charset="0"/>
              <a:buChar char="•"/>
            </a:pPr>
            <a:r>
              <a:rPr lang="en-US" sz="2000" baseline="0" dirty="0"/>
              <a:t>DOP</a:t>
            </a:r>
            <a:endParaRPr lang="en-US" sz="2000" dirty="0"/>
          </a:p>
          <a:p>
            <a:pPr marL="285750" lvl="0" indent="-285750">
              <a:buFont typeface="Arial" panose="020B0604020202020204" pitchFamily="34" charset="0"/>
              <a:buChar char="•"/>
            </a:pPr>
            <a:r>
              <a:rPr lang="en-US" sz="2000" baseline="0" dirty="0"/>
              <a:t>Memory consumption</a:t>
            </a:r>
            <a:endParaRPr lang="en-US" sz="2000" dirty="0"/>
          </a:p>
          <a:p>
            <a:pPr marL="285750" lvl="0" indent="-285750">
              <a:buFont typeface="Arial" panose="020B0604020202020204" pitchFamily="34" charset="0"/>
              <a:buChar char="•"/>
            </a:pPr>
            <a:r>
              <a:rPr lang="en-US" sz="2000" baseline="0" dirty="0"/>
              <a:t>Row Count</a:t>
            </a:r>
            <a:endParaRPr lang="en-US" sz="2000" dirty="0"/>
          </a:p>
          <a:p>
            <a:pPr marL="285750" lvl="0" indent="-285750">
              <a:buFont typeface="Arial" panose="020B0604020202020204" pitchFamily="34" charset="0"/>
              <a:buChar char="•"/>
            </a:pPr>
            <a:r>
              <a:rPr lang="en-US" sz="2000" baseline="0" dirty="0"/>
              <a:t>Log memory used</a:t>
            </a:r>
            <a:endParaRPr lang="en-US" sz="2000" dirty="0"/>
          </a:p>
          <a:p>
            <a:pPr marL="285750" lvl="0" indent="-285750">
              <a:buFont typeface="Arial" panose="020B0604020202020204" pitchFamily="34" charset="0"/>
              <a:buChar char="•"/>
            </a:pPr>
            <a:r>
              <a:rPr lang="en-US" sz="2000" baseline="0" dirty="0"/>
              <a:t>Tempdb memory used</a:t>
            </a:r>
            <a:endParaRPr lang="en-US" sz="2000" dirty="0"/>
          </a:p>
          <a:p>
            <a:pPr marL="285750" lvl="0" indent="-285750">
              <a:buFont typeface="Arial" panose="020B0604020202020204" pitchFamily="34" charset="0"/>
              <a:buChar char="•"/>
            </a:pPr>
            <a:r>
              <a:rPr lang="en-US" sz="2000" baseline="0" dirty="0"/>
              <a:t>Wait time</a:t>
            </a:r>
            <a:endParaRPr lang="en-US" sz="2000" dirty="0"/>
          </a:p>
        </p:txBody>
      </p:sp>
    </p:spTree>
    <p:extLst>
      <p:ext uri="{BB962C8B-B14F-4D97-AF65-F5344CB8AC3E}">
        <p14:creationId xmlns:p14="http://schemas.microsoft.com/office/powerpoint/2010/main" val="17389843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72249" y="186100"/>
            <a:ext cx="10972800" cy="474041"/>
          </a:xfrm>
        </p:spPr>
        <p:txBody>
          <a:bodyPr/>
          <a:lstStyle/>
          <a:p>
            <a:r>
              <a:rPr lang="en-US" sz="3200" dirty="0"/>
              <a:t>Using</a:t>
            </a:r>
            <a:r>
              <a:rPr lang="en-US" dirty="0"/>
              <a:t> </a:t>
            </a:r>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10" name="Text Placeholder 4">
            <a:extLst>
              <a:ext uri="{FF2B5EF4-FFF2-40B4-BE49-F238E27FC236}">
                <a16:creationId xmlns:a16="http://schemas.microsoft.com/office/drawing/2014/main" id="{AEF65078-6FBE-4295-BFE6-4805EB86DD2C}"/>
              </a:ext>
            </a:extLst>
          </p:cNvPr>
          <p:cNvSpPr txBox="1">
            <a:spLocks/>
          </p:cNvSpPr>
          <p:nvPr/>
        </p:nvSpPr>
        <p:spPr>
          <a:xfrm>
            <a:off x="1074934" y="992137"/>
            <a:ext cx="10504417"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Finding the TOP 10 most frequently executed SQL Server Queries in the Query Store.</a:t>
            </a:r>
          </a:p>
        </p:txBody>
      </p:sp>
      <p:sp>
        <p:nvSpPr>
          <p:cNvPr id="2" name="TextBox 1">
            <a:extLst>
              <a:ext uri="{FF2B5EF4-FFF2-40B4-BE49-F238E27FC236}">
                <a16:creationId xmlns:a16="http://schemas.microsoft.com/office/drawing/2014/main" id="{5B526369-8CA9-462E-8EBE-932F925EAF91}"/>
              </a:ext>
            </a:extLst>
          </p:cNvPr>
          <p:cNvSpPr txBox="1"/>
          <p:nvPr/>
        </p:nvSpPr>
        <p:spPr>
          <a:xfrm>
            <a:off x="2250851" y="2192295"/>
            <a:ext cx="7690298"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O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_tex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plan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runtime_stats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g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ROU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RDER</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62919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6DF1A8-56A0-9429-9A12-817E3E226DE6}"/>
              </a:ext>
            </a:extLst>
          </p:cNvPr>
          <p:cNvSpPr>
            <a:spLocks noGrp="1"/>
          </p:cNvSpPr>
          <p:nvPr>
            <p:ph type="title"/>
          </p:nvPr>
        </p:nvSpPr>
        <p:spPr>
          <a:xfrm>
            <a:off x="655638" y="320040"/>
            <a:ext cx="10880725" cy="461665"/>
          </a:xfrm>
        </p:spPr>
        <p:txBody>
          <a:bodyPr wrap="square" anchor="t">
            <a:normAutofit/>
          </a:bodyPr>
          <a:lstStyle/>
          <a:p>
            <a:r>
              <a:rPr lang="en-US" dirty="0"/>
              <a:t>Query Store read replica support for Availability Groups</a:t>
            </a:r>
          </a:p>
        </p:txBody>
      </p:sp>
      <p:sp>
        <p:nvSpPr>
          <p:cNvPr id="12" name="Subtitle 2">
            <a:extLst>
              <a:ext uri="{FF2B5EF4-FFF2-40B4-BE49-F238E27FC236}">
                <a16:creationId xmlns:a16="http://schemas.microsoft.com/office/drawing/2014/main" id="{108E5AA5-3794-68F5-FBC2-A50DA95E6B5F}"/>
              </a:ext>
            </a:extLst>
          </p:cNvPr>
          <p:cNvSpPr>
            <a:spLocks noGrp="1"/>
          </p:cNvSpPr>
          <p:nvPr>
            <p:ph type="subTitle" idx="1"/>
          </p:nvPr>
        </p:nvSpPr>
        <p:spPr>
          <a:xfrm>
            <a:off x="655637" y="786383"/>
            <a:ext cx="10880725" cy="461665"/>
          </a:xfrm>
        </p:spPr>
        <p:txBody>
          <a:bodyPr/>
          <a:lstStyle/>
          <a:p>
            <a:r>
              <a:rPr lang="en-US" dirty="0"/>
              <a:t>New feature in SQL Server 2022 – currently in preview</a:t>
            </a:r>
          </a:p>
        </p:txBody>
      </p:sp>
      <p:graphicFrame>
        <p:nvGraphicFramePr>
          <p:cNvPr id="5" name="Text Placeholder 2">
            <a:extLst>
              <a:ext uri="{FF2B5EF4-FFF2-40B4-BE49-F238E27FC236}">
                <a16:creationId xmlns:a16="http://schemas.microsoft.com/office/drawing/2014/main" id="{AF8BCF1A-A1CD-1A23-75D4-D246713D0C15}"/>
              </a:ext>
            </a:extLst>
          </p:cNvPr>
          <p:cNvGraphicFramePr/>
          <p:nvPr>
            <p:extLst>
              <p:ext uri="{D42A27DB-BD31-4B8C-83A1-F6EECF244321}">
                <p14:modId xmlns:p14="http://schemas.microsoft.com/office/powerpoint/2010/main" val="1534259923"/>
              </p:ext>
            </p:extLst>
          </p:nvPr>
        </p:nvGraphicFramePr>
        <p:xfrm>
          <a:off x="655638" y="1248048"/>
          <a:ext cx="10880726" cy="5457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3215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3939-CCD5-0290-E28E-DEA3AA4AB983}"/>
              </a:ext>
            </a:extLst>
          </p:cNvPr>
          <p:cNvSpPr>
            <a:spLocks noGrp="1"/>
          </p:cNvSpPr>
          <p:nvPr>
            <p:ph type="title"/>
          </p:nvPr>
        </p:nvSpPr>
        <p:spPr>
          <a:xfrm>
            <a:off x="655638" y="320040"/>
            <a:ext cx="10880725" cy="461665"/>
          </a:xfrm>
        </p:spPr>
        <p:txBody>
          <a:bodyPr wrap="square" anchor="t">
            <a:normAutofit/>
          </a:bodyPr>
          <a:lstStyle/>
          <a:p>
            <a:r>
              <a:rPr lang="en-US"/>
              <a:t>Query Store hints</a:t>
            </a:r>
          </a:p>
        </p:txBody>
      </p:sp>
      <p:graphicFrame>
        <p:nvGraphicFramePr>
          <p:cNvPr id="5" name="Text Placeholder 2">
            <a:extLst>
              <a:ext uri="{FF2B5EF4-FFF2-40B4-BE49-F238E27FC236}">
                <a16:creationId xmlns:a16="http://schemas.microsoft.com/office/drawing/2014/main" id="{A169EBBA-D234-F5FE-9077-4C3CB0CE0CEB}"/>
              </a:ext>
            </a:extLst>
          </p:cNvPr>
          <p:cNvGraphicFramePr/>
          <p:nvPr>
            <p:extLst>
              <p:ext uri="{D42A27DB-BD31-4B8C-83A1-F6EECF244321}">
                <p14:modId xmlns:p14="http://schemas.microsoft.com/office/powerpoint/2010/main" val="3887276604"/>
              </p:ext>
            </p:extLst>
          </p:nvPr>
        </p:nvGraphicFramePr>
        <p:xfrm>
          <a:off x="655638" y="1019504"/>
          <a:ext cx="10880726" cy="4028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A close-up of a card game&#10;&#10;Description automatically generated">
            <a:extLst>
              <a:ext uri="{FF2B5EF4-FFF2-40B4-BE49-F238E27FC236}">
                <a16:creationId xmlns:a16="http://schemas.microsoft.com/office/drawing/2014/main" id="{68BA0105-4227-43FF-E95F-D06A4B36020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66124" y="5285789"/>
            <a:ext cx="9859751" cy="1276528"/>
          </a:xfrm>
          <a:prstGeom prst="rect">
            <a:avLst/>
          </a:prstGeom>
        </p:spPr>
      </p:pic>
    </p:spTree>
    <p:extLst>
      <p:ext uri="{BB962C8B-B14F-4D97-AF65-F5344CB8AC3E}">
        <p14:creationId xmlns:p14="http://schemas.microsoft.com/office/powerpoint/2010/main" val="24467393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3939-CCD5-0290-E28E-DEA3AA4AB983}"/>
              </a:ext>
            </a:extLst>
          </p:cNvPr>
          <p:cNvSpPr>
            <a:spLocks noGrp="1"/>
          </p:cNvSpPr>
          <p:nvPr>
            <p:ph type="title"/>
          </p:nvPr>
        </p:nvSpPr>
        <p:spPr>
          <a:xfrm>
            <a:off x="655638" y="320040"/>
            <a:ext cx="10880725" cy="461665"/>
          </a:xfrm>
        </p:spPr>
        <p:txBody>
          <a:bodyPr wrap="square" anchor="t">
            <a:normAutofit/>
          </a:bodyPr>
          <a:lstStyle/>
          <a:p>
            <a:r>
              <a:rPr lang="en-US" dirty="0"/>
              <a:t>Query Store hints – Use Cases</a:t>
            </a:r>
          </a:p>
        </p:txBody>
      </p:sp>
      <p:graphicFrame>
        <p:nvGraphicFramePr>
          <p:cNvPr id="5" name="Text Placeholder 2">
            <a:extLst>
              <a:ext uri="{FF2B5EF4-FFF2-40B4-BE49-F238E27FC236}">
                <a16:creationId xmlns:a16="http://schemas.microsoft.com/office/drawing/2014/main" id="{A169EBBA-D234-F5FE-9077-4C3CB0CE0CEB}"/>
              </a:ext>
            </a:extLst>
          </p:cNvPr>
          <p:cNvGraphicFramePr/>
          <p:nvPr>
            <p:extLst>
              <p:ext uri="{D42A27DB-BD31-4B8C-83A1-F6EECF244321}">
                <p14:modId xmlns:p14="http://schemas.microsoft.com/office/powerpoint/2010/main" val="1924042890"/>
              </p:ext>
            </p:extLst>
          </p:nvPr>
        </p:nvGraphicFramePr>
        <p:xfrm>
          <a:off x="655638" y="1177159"/>
          <a:ext cx="10880726" cy="50506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44168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purpose and contents of the plan cache.</a:t>
            </a:r>
          </a:p>
          <a:p>
            <a:r>
              <a:rPr lang="en-US" dirty="0"/>
              <a:t>Query the plan cache using Dynamic Management Objects.</a:t>
            </a:r>
          </a:p>
          <a:p>
            <a:r>
              <a:rPr lang="en-US" dirty="0"/>
              <a:t>Discuss the pros and cons of plan reuse.</a:t>
            </a:r>
          </a:p>
          <a:p>
            <a:r>
              <a:rPr lang="en-US" dirty="0"/>
              <a:t>Explain why </a:t>
            </a:r>
            <a:r>
              <a:rPr lang="en-US" i="1" dirty="0"/>
              <a:t>ad hoc </a:t>
            </a:r>
            <a:r>
              <a:rPr lang="en-US" dirty="0"/>
              <a:t>SQL statements can be especially problematic.</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5557E-DF83-5A8B-AA11-CFCA5857AC06}"/>
              </a:ext>
            </a:extLst>
          </p:cNvPr>
          <p:cNvSpPr>
            <a:spLocks noGrp="1"/>
          </p:cNvSpPr>
          <p:nvPr>
            <p:ph type="title"/>
          </p:nvPr>
        </p:nvSpPr>
        <p:spPr/>
        <p:txBody>
          <a:bodyPr/>
          <a:lstStyle/>
          <a:p>
            <a:r>
              <a:rPr lang="en-US" dirty="0"/>
              <a:t>Setting, clearing, and viewing query store hints.</a:t>
            </a:r>
          </a:p>
        </p:txBody>
      </p:sp>
      <p:sp>
        <p:nvSpPr>
          <p:cNvPr id="4" name="TextBox 3">
            <a:extLst>
              <a:ext uri="{FF2B5EF4-FFF2-40B4-BE49-F238E27FC236}">
                <a16:creationId xmlns:a16="http://schemas.microsoft.com/office/drawing/2014/main" id="{48FFE396-C291-3D90-2DA0-CF29E72C0C0C}"/>
              </a:ext>
            </a:extLst>
          </p:cNvPr>
          <p:cNvSpPr txBox="1"/>
          <p:nvPr/>
        </p:nvSpPr>
        <p:spPr>
          <a:xfrm>
            <a:off x="599216" y="1631732"/>
            <a:ext cx="10993567" cy="4401205"/>
          </a:xfrm>
          <a:prstGeom prst="rect">
            <a:avLst/>
          </a:prstGeom>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square">
            <a:spAutoFit/>
          </a:bodyPr>
          <a:lstStyle/>
          <a:p>
            <a:r>
              <a:rPr lang="en-US" sz="2000" dirty="0">
                <a:solidFill>
                  <a:srgbClr val="008000"/>
                </a:solidFill>
              </a:rPr>
              <a:t>--First identify the Query Store query_id of the query statement you with to modify.</a:t>
            </a:r>
            <a:endParaRPr lang="en-US" sz="2000" dirty="0">
              <a:solidFill>
                <a:srgbClr val="000000"/>
              </a:solidFill>
            </a:endParaRPr>
          </a:p>
          <a:p>
            <a:endParaRPr lang="en-US" sz="2000" dirty="0">
              <a:solidFill>
                <a:srgbClr val="000000"/>
              </a:solidFill>
            </a:endParaRPr>
          </a:p>
          <a:p>
            <a:r>
              <a:rPr lang="en-US" sz="2000" dirty="0">
                <a:solidFill>
                  <a:srgbClr val="008000"/>
                </a:solidFill>
              </a:rPr>
              <a:t>-- Adding a query store hints.</a:t>
            </a:r>
            <a:endParaRPr lang="en-US" sz="2000" dirty="0">
              <a:solidFill>
                <a:srgbClr val="000000"/>
              </a:solidFill>
            </a:endParaRPr>
          </a:p>
          <a:p>
            <a:r>
              <a:rPr lang="en-US" sz="2000" dirty="0">
                <a:solidFill>
                  <a:srgbClr val="0000FF"/>
                </a:solidFill>
              </a:rPr>
              <a:t>EXEC</a:t>
            </a:r>
            <a:r>
              <a:rPr lang="en-US" sz="2000" dirty="0">
                <a:solidFill>
                  <a:srgbClr val="000000"/>
                </a:solidFill>
              </a:rPr>
              <a:t> </a:t>
            </a:r>
            <a:r>
              <a:rPr lang="en-US" sz="2000" dirty="0"/>
              <a:t>sys.sp_query_store_set_hints </a:t>
            </a:r>
            <a:r>
              <a:rPr lang="en-US" sz="2000" dirty="0">
                <a:solidFill>
                  <a:srgbClr val="000000"/>
                </a:solidFill>
              </a:rPr>
              <a:t>@query_id </a:t>
            </a:r>
            <a:r>
              <a:rPr lang="en-US" sz="2000" dirty="0">
                <a:solidFill>
                  <a:srgbClr val="808080"/>
                </a:solidFill>
              </a:rPr>
              <a:t>=</a:t>
            </a:r>
            <a:r>
              <a:rPr lang="en-US" sz="2000" dirty="0">
                <a:solidFill>
                  <a:srgbClr val="000000"/>
                </a:solidFill>
              </a:rPr>
              <a:t> 51</a:t>
            </a:r>
            <a:r>
              <a:rPr lang="en-US" sz="2000" dirty="0">
                <a:solidFill>
                  <a:srgbClr val="808080"/>
                </a:solidFill>
              </a:rPr>
              <a:t>,</a:t>
            </a:r>
            <a:r>
              <a:rPr lang="en-US" sz="2000" dirty="0">
                <a:solidFill>
                  <a:srgbClr val="000000"/>
                </a:solidFill>
              </a:rPr>
              <a:t> @query_hints </a:t>
            </a:r>
            <a:r>
              <a:rPr lang="en-US" sz="2000" dirty="0">
                <a:solidFill>
                  <a:srgbClr val="808080"/>
                </a:solidFill>
              </a:rPr>
              <a:t>=</a:t>
            </a:r>
            <a:r>
              <a:rPr lang="en-US" sz="2000" dirty="0">
                <a:solidFill>
                  <a:srgbClr val="000000"/>
                </a:solidFill>
              </a:rPr>
              <a:t> </a:t>
            </a:r>
            <a:r>
              <a:rPr lang="en-US" sz="2000" dirty="0">
                <a:solidFill>
                  <a:srgbClr val="FF0000"/>
                </a:solidFill>
              </a:rPr>
              <a:t>N'OPTION(RECOMPILE)'</a:t>
            </a:r>
            <a:r>
              <a:rPr lang="en-US" sz="2000" dirty="0">
                <a:solidFill>
                  <a:srgbClr val="808080"/>
                </a:solidFill>
              </a:rPr>
              <a:t>;</a:t>
            </a:r>
            <a:endParaRPr lang="en-US" sz="2000" dirty="0">
              <a:solidFill>
                <a:srgbClr val="000000"/>
              </a:solidFill>
            </a:endParaRPr>
          </a:p>
          <a:p>
            <a:endParaRPr lang="en-US" sz="2000" dirty="0">
              <a:solidFill>
                <a:srgbClr val="000000"/>
              </a:solidFill>
            </a:endParaRPr>
          </a:p>
          <a:p>
            <a:r>
              <a:rPr lang="en-US" sz="2000" dirty="0">
                <a:solidFill>
                  <a:srgbClr val="008000"/>
                </a:solidFill>
              </a:rPr>
              <a:t>--Updating or adding additional query store hints.</a:t>
            </a:r>
            <a:endParaRPr lang="en-US" sz="2000" dirty="0">
              <a:solidFill>
                <a:srgbClr val="000000"/>
              </a:solidFill>
            </a:endParaRPr>
          </a:p>
          <a:p>
            <a:r>
              <a:rPr lang="en-US" sz="2000" dirty="0">
                <a:solidFill>
                  <a:srgbClr val="0000FF"/>
                </a:solidFill>
              </a:rPr>
              <a:t>EXEC</a:t>
            </a:r>
            <a:r>
              <a:rPr lang="en-US" sz="2000" dirty="0">
                <a:solidFill>
                  <a:srgbClr val="000000"/>
                </a:solidFill>
              </a:rPr>
              <a:t> </a:t>
            </a:r>
            <a:r>
              <a:rPr lang="en-US" sz="2000" dirty="0"/>
              <a:t>sys.sp_query_store_set_hints </a:t>
            </a:r>
            <a:r>
              <a:rPr lang="en-US" sz="2000" dirty="0">
                <a:solidFill>
                  <a:srgbClr val="000000"/>
                </a:solidFill>
              </a:rPr>
              <a:t>@query_id </a:t>
            </a:r>
            <a:r>
              <a:rPr lang="en-US" sz="2000" dirty="0">
                <a:solidFill>
                  <a:srgbClr val="808080"/>
                </a:solidFill>
              </a:rPr>
              <a:t>=</a:t>
            </a:r>
            <a:r>
              <a:rPr lang="en-US" sz="2000" dirty="0">
                <a:solidFill>
                  <a:srgbClr val="000000"/>
                </a:solidFill>
              </a:rPr>
              <a:t> 51</a:t>
            </a:r>
            <a:r>
              <a:rPr lang="en-US" sz="2000" dirty="0">
                <a:solidFill>
                  <a:srgbClr val="808080"/>
                </a:solidFill>
              </a:rPr>
              <a:t>,</a:t>
            </a:r>
            <a:r>
              <a:rPr lang="en-US" sz="2000" dirty="0">
                <a:solidFill>
                  <a:srgbClr val="000000"/>
                </a:solidFill>
              </a:rPr>
              <a:t> </a:t>
            </a:r>
          </a:p>
          <a:p>
            <a:r>
              <a:rPr lang="en-US" sz="2000" dirty="0">
                <a:solidFill>
                  <a:srgbClr val="000000"/>
                </a:solidFill>
              </a:rPr>
              <a:t>@query_hints </a:t>
            </a:r>
            <a:r>
              <a:rPr lang="en-US" sz="2000" dirty="0">
                <a:solidFill>
                  <a:srgbClr val="808080"/>
                </a:solidFill>
              </a:rPr>
              <a:t>=</a:t>
            </a:r>
            <a:r>
              <a:rPr lang="en-US" sz="2000" dirty="0">
                <a:solidFill>
                  <a:srgbClr val="000000"/>
                </a:solidFill>
              </a:rPr>
              <a:t> </a:t>
            </a:r>
            <a:r>
              <a:rPr lang="en-US" sz="2000" dirty="0">
                <a:solidFill>
                  <a:srgbClr val="FF0000"/>
                </a:solidFill>
              </a:rPr>
              <a:t>N'OPTION(RECOMPILE, MAXDOP 8, USE HINT(''DISALLOW_BATCH_MODE''))'</a:t>
            </a:r>
            <a:r>
              <a:rPr lang="en-US" sz="2000" dirty="0">
                <a:solidFill>
                  <a:srgbClr val="808080"/>
                </a:solidFill>
              </a:rPr>
              <a:t>;</a:t>
            </a:r>
            <a:endParaRPr lang="en-US" sz="2000" dirty="0">
              <a:solidFill>
                <a:srgbClr val="000000"/>
              </a:solidFill>
            </a:endParaRPr>
          </a:p>
          <a:p>
            <a:endParaRPr lang="en-US" sz="2000" dirty="0">
              <a:solidFill>
                <a:srgbClr val="000000"/>
              </a:solidFill>
            </a:endParaRPr>
          </a:p>
          <a:p>
            <a:r>
              <a:rPr lang="en-US" sz="2000" dirty="0">
                <a:solidFill>
                  <a:srgbClr val="008000"/>
                </a:solidFill>
              </a:rPr>
              <a:t>--Removing query store hints.</a:t>
            </a:r>
            <a:endParaRPr lang="en-US" sz="2000" dirty="0">
              <a:solidFill>
                <a:srgbClr val="000000"/>
              </a:solidFill>
            </a:endParaRPr>
          </a:p>
          <a:p>
            <a:r>
              <a:rPr lang="en-US" sz="2000" dirty="0">
                <a:solidFill>
                  <a:srgbClr val="0000FF"/>
                </a:solidFill>
              </a:rPr>
              <a:t>EXEC</a:t>
            </a:r>
            <a:r>
              <a:rPr lang="en-US" sz="2000" dirty="0">
                <a:solidFill>
                  <a:schemeClr val="accent6">
                    <a:lumMod val="90000"/>
                    <a:lumOff val="10000"/>
                  </a:schemeClr>
                </a:solidFill>
              </a:rPr>
              <a:t> </a:t>
            </a:r>
            <a:r>
              <a:rPr lang="en-US" sz="2000" dirty="0"/>
              <a:t>sys.</a:t>
            </a:r>
            <a:r>
              <a:rPr lang="en-US" sz="2000" dirty="0">
                <a:solidFill>
                  <a:srgbClr val="000000"/>
                </a:solidFill>
              </a:rPr>
              <a:t>sp_query_store_clear_hints</a:t>
            </a:r>
            <a:r>
              <a:rPr lang="en-US" sz="2000" dirty="0">
                <a:solidFill>
                  <a:srgbClr val="0000FF"/>
                </a:solidFill>
              </a:rPr>
              <a:t> </a:t>
            </a:r>
            <a:r>
              <a:rPr lang="en-US" sz="2000" dirty="0">
                <a:solidFill>
                  <a:srgbClr val="000000"/>
                </a:solidFill>
              </a:rPr>
              <a:t>@query_id </a:t>
            </a:r>
            <a:r>
              <a:rPr lang="en-US" sz="2000" dirty="0">
                <a:solidFill>
                  <a:srgbClr val="808080"/>
                </a:solidFill>
              </a:rPr>
              <a:t>=</a:t>
            </a:r>
            <a:r>
              <a:rPr lang="en-US" sz="2000" dirty="0">
                <a:solidFill>
                  <a:srgbClr val="000000"/>
                </a:solidFill>
              </a:rPr>
              <a:t> 51</a:t>
            </a:r>
            <a:r>
              <a:rPr lang="en-US" sz="2000" dirty="0">
                <a:solidFill>
                  <a:srgbClr val="808080"/>
                </a:solidFill>
              </a:rPr>
              <a:t>;</a:t>
            </a:r>
            <a:endParaRPr lang="en-US" sz="2000" dirty="0">
              <a:solidFill>
                <a:srgbClr val="000000"/>
              </a:solidFill>
            </a:endParaRPr>
          </a:p>
          <a:p>
            <a:endParaRPr lang="en-US" sz="2000" dirty="0">
              <a:solidFill>
                <a:srgbClr val="000000"/>
              </a:solidFill>
            </a:endParaRPr>
          </a:p>
          <a:p>
            <a:r>
              <a:rPr lang="en-US" sz="2000" dirty="0">
                <a:solidFill>
                  <a:srgbClr val="008000"/>
                </a:solidFill>
              </a:rPr>
              <a:t>--Viewing configured query store hints.</a:t>
            </a:r>
            <a:endParaRPr lang="en-US" sz="2000" dirty="0">
              <a:solidFill>
                <a:srgbClr val="000000"/>
              </a:solidFill>
            </a:endParaRPr>
          </a:p>
          <a:p>
            <a:r>
              <a:rPr lang="en-US" sz="2000" dirty="0">
                <a:solidFill>
                  <a:srgbClr val="0000FF"/>
                </a:solidFill>
              </a:rPr>
              <a:t>SELECT</a:t>
            </a:r>
            <a:r>
              <a:rPr lang="en-US" sz="2000" dirty="0">
                <a:solidFill>
                  <a:srgbClr val="000000"/>
                </a:solidFill>
              </a:rPr>
              <a:t> </a:t>
            </a:r>
            <a:r>
              <a:rPr lang="en-US" sz="2000" dirty="0">
                <a:solidFill>
                  <a:srgbClr val="808080"/>
                </a:solidFill>
              </a:rPr>
              <a:t>*</a:t>
            </a:r>
            <a:r>
              <a:rPr lang="en-US" sz="2000" dirty="0">
                <a:solidFill>
                  <a:srgbClr val="000000"/>
                </a:solidFill>
              </a:rPr>
              <a:t> </a:t>
            </a:r>
            <a:r>
              <a:rPr lang="en-US" sz="2000" dirty="0">
                <a:solidFill>
                  <a:srgbClr val="0000FF"/>
                </a:solidFill>
              </a:rPr>
              <a:t>FROM</a:t>
            </a:r>
            <a:r>
              <a:rPr lang="en-US" sz="2000" dirty="0">
                <a:solidFill>
                  <a:srgbClr val="000000"/>
                </a:solidFill>
              </a:rPr>
              <a:t> </a:t>
            </a:r>
            <a:r>
              <a:rPr lang="en-US" sz="2000" dirty="0"/>
              <a:t>sys</a:t>
            </a:r>
            <a:r>
              <a:rPr lang="en-US" sz="2000" dirty="0">
                <a:solidFill>
                  <a:srgbClr val="808080"/>
                </a:solidFill>
              </a:rPr>
              <a:t>.</a:t>
            </a:r>
            <a:r>
              <a:rPr lang="en-US" sz="2000" dirty="0">
                <a:solidFill>
                  <a:srgbClr val="000000"/>
                </a:solidFill>
              </a:rPr>
              <a:t>query_store_query_hints</a:t>
            </a:r>
            <a:endParaRPr lang="en-US" sz="2000" dirty="0"/>
          </a:p>
        </p:txBody>
      </p:sp>
    </p:spTree>
    <p:extLst>
      <p:ext uri="{BB962C8B-B14F-4D97-AF65-F5344CB8AC3E}">
        <p14:creationId xmlns:p14="http://schemas.microsoft.com/office/powerpoint/2010/main" val="3928518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Using the Query Stor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83694389"/>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93202010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034484828"/>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SQL Server Intelligent Query Processing</a:t>
            </a:r>
          </a:p>
        </p:txBody>
      </p:sp>
    </p:spTree>
    <p:extLst>
      <p:ext uri="{BB962C8B-B14F-4D97-AF65-F5344CB8AC3E}">
        <p14:creationId xmlns:p14="http://schemas.microsoft.com/office/powerpoint/2010/main" val="11855736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Intelligent query processing features.</a:t>
            </a:r>
          </a:p>
          <a:p>
            <a:r>
              <a:rPr lang="en-US" dirty="0"/>
              <a:t>Enable/disable Intelligent query processing features.</a:t>
            </a:r>
          </a:p>
          <a:p>
            <a:r>
              <a:rPr lang="en-US" dirty="0"/>
              <a:t>A detailed version of this lesson is in Module 10.</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72088720"/>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pPr lvl="0"/>
            <a:r>
              <a:rPr lang="en-US" b="1" dirty="0"/>
              <a:t>A History of Intelligent Query Processing</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308857" y="921898"/>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4017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33922"/>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1DFCDBD-1083-4C9B-81B0-18B09E0E498D}"/>
              </a:ext>
            </a:extLst>
          </p:cNvPr>
          <p:cNvSpPr/>
          <p:nvPr/>
        </p:nvSpPr>
        <p:spPr>
          <a:xfrm>
            <a:off x="7853680" y="5505710"/>
            <a:ext cx="1645920" cy="833120"/>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9BC42E97-2FB9-4C21-9224-F41DF6159685}"/>
              </a:ext>
            </a:extLst>
          </p:cNvPr>
          <p:cNvSpPr/>
          <p:nvPr/>
        </p:nvSpPr>
        <p:spPr>
          <a:xfrm>
            <a:off x="9596118" y="5505710"/>
            <a:ext cx="1645920" cy="833120"/>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9717390-56F6-4719-AC3E-6A614E4CEA32}"/>
              </a:ext>
            </a:extLst>
          </p:cNvPr>
          <p:cNvSpPr txBox="1"/>
          <p:nvPr/>
        </p:nvSpPr>
        <p:spPr>
          <a:xfrm>
            <a:off x="7805421"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7</a:t>
            </a:r>
          </a:p>
        </p:txBody>
      </p:sp>
      <p:sp>
        <p:nvSpPr>
          <p:cNvPr id="11" name="TextBox 10">
            <a:extLst>
              <a:ext uri="{FF2B5EF4-FFF2-40B4-BE49-F238E27FC236}">
                <a16:creationId xmlns:a16="http://schemas.microsoft.com/office/drawing/2014/main" id="{F22830DA-357C-4A79-809A-95723C509562}"/>
              </a:ext>
            </a:extLst>
          </p:cNvPr>
          <p:cNvSpPr txBox="1"/>
          <p:nvPr/>
        </p:nvSpPr>
        <p:spPr>
          <a:xfrm>
            <a:off x="9499600"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9</a:t>
            </a:r>
          </a:p>
        </p:txBody>
      </p:sp>
      <p:sp>
        <p:nvSpPr>
          <p:cNvPr id="13" name="TextBox 12">
            <a:extLst>
              <a:ext uri="{FF2B5EF4-FFF2-40B4-BE49-F238E27FC236}">
                <a16:creationId xmlns:a16="http://schemas.microsoft.com/office/drawing/2014/main" id="{381C90F7-662D-4511-86AF-2DEC7C55F09D}"/>
              </a:ext>
            </a:extLst>
          </p:cNvPr>
          <p:cNvSpPr txBox="1"/>
          <p:nvPr/>
        </p:nvSpPr>
        <p:spPr>
          <a:xfrm>
            <a:off x="8336280" y="4918335"/>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73F082C8-817B-4CC4-B844-5F4291A58291}"/>
              </a:ext>
            </a:extLst>
          </p:cNvPr>
          <p:cNvSpPr/>
          <p:nvPr/>
        </p:nvSpPr>
        <p:spPr>
          <a:xfrm>
            <a:off x="7853680" y="5038082"/>
            <a:ext cx="3388357"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Tree>
    <p:extLst>
      <p:ext uri="{BB962C8B-B14F-4D97-AF65-F5344CB8AC3E}">
        <p14:creationId xmlns:p14="http://schemas.microsoft.com/office/powerpoint/2010/main" val="2670100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08538"/>
            <a:ext cx="10880725" cy="461665"/>
          </a:xfrm>
        </p:spPr>
        <p:txBody>
          <a:bodyPr/>
          <a:lstStyle/>
          <a:p>
            <a:r>
              <a:rPr lang="en-US" dirty="0"/>
              <a:t>The Plan Cache</a:t>
            </a:r>
          </a:p>
        </p:txBody>
      </p:sp>
      <p:graphicFrame>
        <p:nvGraphicFramePr>
          <p:cNvPr id="12" name="Content Placeholder 11">
            <a:extLst>
              <a:ext uri="{FF2B5EF4-FFF2-40B4-BE49-F238E27FC236}">
                <a16:creationId xmlns:a16="http://schemas.microsoft.com/office/drawing/2014/main" id="{A7202010-A317-457F-B4F7-8BA153FC2640}"/>
              </a:ext>
            </a:extLst>
          </p:cNvPr>
          <p:cNvGraphicFramePr>
            <a:graphicFrameLocks noGrp="1"/>
          </p:cNvGraphicFramePr>
          <p:nvPr>
            <p:ph sz="quarter" idx="13"/>
            <p:extLst>
              <p:ext uri="{D42A27DB-BD31-4B8C-83A1-F6EECF244321}">
                <p14:modId xmlns:p14="http://schemas.microsoft.com/office/powerpoint/2010/main" val="2651463889"/>
              </p:ext>
            </p:extLst>
          </p:nvPr>
        </p:nvGraphicFramePr>
        <p:xfrm>
          <a:off x="655638" y="940238"/>
          <a:ext cx="10880726" cy="3874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86487599-AFEE-4CF0-A00F-C605F5977B65}"/>
              </a:ext>
            </a:extLst>
          </p:cNvPr>
          <p:cNvGrpSpPr/>
          <p:nvPr/>
        </p:nvGrpSpPr>
        <p:grpSpPr>
          <a:xfrm>
            <a:off x="1436146" y="4974385"/>
            <a:ext cx="6194680" cy="1663430"/>
            <a:chOff x="1436146" y="4974385"/>
            <a:chExt cx="6194680" cy="1663430"/>
          </a:xfrm>
        </p:grpSpPr>
        <p:sp>
          <p:nvSpPr>
            <p:cNvPr id="7" name="Rectangle: Rounded Corners 6">
              <a:extLst>
                <a:ext uri="{FF2B5EF4-FFF2-40B4-BE49-F238E27FC236}">
                  <a16:creationId xmlns:a16="http://schemas.microsoft.com/office/drawing/2014/main" id="{AE398C95-BFB1-4B02-A6EC-7F8644204ABA}"/>
                </a:ext>
              </a:extLst>
            </p:cNvPr>
            <p:cNvSpPr/>
            <p:nvPr/>
          </p:nvSpPr>
          <p:spPr bwMode="auto">
            <a:xfrm>
              <a:off x="2982626" y="4974385"/>
              <a:ext cx="4648200" cy="16634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63D22EF-0FAC-4F52-A8E7-D87FFACBB6CA}"/>
                </a:ext>
              </a:extLst>
            </p:cNvPr>
            <p:cNvSpPr/>
            <p:nvPr/>
          </p:nvSpPr>
          <p:spPr bwMode="auto">
            <a:xfrm>
              <a:off x="3163104" y="5242670"/>
              <a:ext cx="762000" cy="747342"/>
            </a:xfrm>
            <a:prstGeom prst="roundRect">
              <a:avLst/>
            </a:prstGeom>
            <a:solidFill>
              <a:srgbClr val="107C10"/>
            </a:solidFill>
            <a:ln>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3C1D6757-30EC-4197-A1CE-255282DA03FB}"/>
                </a:ext>
              </a:extLst>
            </p:cNvPr>
            <p:cNvSpPr/>
            <p:nvPr/>
          </p:nvSpPr>
          <p:spPr bwMode="auto">
            <a:xfrm>
              <a:off x="4049440" y="5124538"/>
              <a:ext cx="3423209" cy="1395144"/>
            </a:xfrm>
            <a:prstGeom prst="roundRect">
              <a:avLst/>
            </a:prstGeom>
            <a:solidFill>
              <a:schemeClr val="accent3"/>
            </a:solidFill>
            <a:ln>
              <a:solidFill>
                <a:schemeClr val="accent4">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2042FE55-1A0C-467D-B410-9145965805E5}"/>
                </a:ext>
              </a:extLst>
            </p:cNvPr>
            <p:cNvSpPr/>
            <p:nvPr/>
          </p:nvSpPr>
          <p:spPr>
            <a:xfrm>
              <a:off x="1436146" y="5513716"/>
              <a:ext cx="1590164" cy="646331"/>
            </a:xfrm>
            <a:prstGeom prst="rect">
              <a:avLst/>
            </a:prstGeom>
          </p:spPr>
          <p:txBody>
            <a:bodyPr wrap="square">
              <a:spAutoFit/>
            </a:bodyPr>
            <a:lstStyle/>
            <a:p>
              <a:pPr algn="ctr" defTabSz="932472" fontAlgn="base">
                <a:spcBef>
                  <a:spcPct val="0"/>
                </a:spcBef>
                <a:spcAft>
                  <a:spcPct val="0"/>
                </a:spcAft>
              </a:pPr>
              <a:r>
                <a:rPr lang="en-US" dirty="0">
                  <a:ea typeface="Segoe UI" pitchFamily="34" charset="0"/>
                  <a:cs typeface="Segoe UI" pitchFamily="34" charset="0"/>
                </a:rPr>
                <a:t>SQL Server’s Memory</a:t>
              </a:r>
            </a:p>
          </p:txBody>
        </p:sp>
        <p:sp>
          <p:nvSpPr>
            <p:cNvPr id="9" name="Rectangle: Rounded Corners 8">
              <a:extLst>
                <a:ext uri="{FF2B5EF4-FFF2-40B4-BE49-F238E27FC236}">
                  <a16:creationId xmlns:a16="http://schemas.microsoft.com/office/drawing/2014/main" id="{2CD26E3D-A698-4CFD-AD33-CC543F940D66}"/>
                </a:ext>
              </a:extLst>
            </p:cNvPr>
            <p:cNvSpPr/>
            <p:nvPr/>
          </p:nvSpPr>
          <p:spPr bwMode="auto">
            <a:xfrm>
              <a:off x="3165911" y="6160047"/>
              <a:ext cx="744558" cy="343230"/>
            </a:xfrm>
            <a:prstGeom prst="roundRect">
              <a:avLst/>
            </a:prstGeom>
            <a:solidFill>
              <a:schemeClr val="accent6"/>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DE6FC4A7-7256-45DE-AF60-F9910431DE9B}"/>
                </a:ext>
              </a:extLst>
            </p:cNvPr>
            <p:cNvSpPr txBox="1"/>
            <p:nvPr/>
          </p:nvSpPr>
          <p:spPr>
            <a:xfrm>
              <a:off x="5192426" y="5600861"/>
              <a:ext cx="1981200" cy="307777"/>
            </a:xfrm>
            <a:prstGeom prst="rect">
              <a:avLst/>
            </a:prstGeom>
            <a:noFill/>
          </p:spPr>
          <p:txBody>
            <a:bodyPr wrap="square" lIns="0" tIns="0" rIns="0" bIns="0" rtlCol="0">
              <a:spAutoFit/>
            </a:bodyPr>
            <a:lstStyle/>
            <a:p>
              <a:pPr algn="l"/>
              <a:r>
                <a:rPr lang="en-US" sz="2000" dirty="0">
                  <a:solidFill>
                    <a:schemeClr val="bg1"/>
                  </a:solidFill>
                </a:rPr>
                <a:t>Buffer Pool</a:t>
              </a:r>
            </a:p>
          </p:txBody>
        </p:sp>
        <p:sp>
          <p:nvSpPr>
            <p:cNvPr id="11" name="TextBox 10">
              <a:extLst>
                <a:ext uri="{FF2B5EF4-FFF2-40B4-BE49-F238E27FC236}">
                  <a16:creationId xmlns:a16="http://schemas.microsoft.com/office/drawing/2014/main" id="{4C1DBF06-3742-493B-AC19-D75F0CE96B27}"/>
                </a:ext>
              </a:extLst>
            </p:cNvPr>
            <p:cNvSpPr txBox="1"/>
            <p:nvPr/>
          </p:nvSpPr>
          <p:spPr>
            <a:xfrm>
              <a:off x="3187288" y="5418493"/>
              <a:ext cx="723181" cy="369332"/>
            </a:xfrm>
            <a:prstGeom prst="rect">
              <a:avLst/>
            </a:prstGeom>
            <a:solidFill>
              <a:srgbClr val="107C10"/>
            </a:solidFill>
          </p:spPr>
          <p:txBody>
            <a:bodyPr wrap="square" lIns="0" tIns="0" rIns="0" bIns="0" rtlCol="0">
              <a:spAutoFit/>
            </a:bodyPr>
            <a:lstStyle/>
            <a:p>
              <a:pPr algn="ctr"/>
              <a:r>
                <a:rPr lang="en-US" sz="1200" dirty="0">
                  <a:solidFill>
                    <a:schemeClr val="bg1"/>
                  </a:solidFill>
                </a:rPr>
                <a:t>Plan </a:t>
              </a:r>
            </a:p>
            <a:p>
              <a:pPr algn="ctr"/>
              <a:r>
                <a:rPr lang="en-US" sz="1200" dirty="0">
                  <a:solidFill>
                    <a:schemeClr val="bg1"/>
                  </a:solidFill>
                </a:rPr>
                <a:t>Cache</a:t>
              </a:r>
            </a:p>
          </p:txBody>
        </p:sp>
        <p:sp>
          <p:nvSpPr>
            <p:cNvPr id="13" name="TextBox 12">
              <a:extLst>
                <a:ext uri="{FF2B5EF4-FFF2-40B4-BE49-F238E27FC236}">
                  <a16:creationId xmlns:a16="http://schemas.microsoft.com/office/drawing/2014/main" id="{299B3597-7322-4B4C-89BD-1B1865818001}"/>
                </a:ext>
              </a:extLst>
            </p:cNvPr>
            <p:cNvSpPr txBox="1"/>
            <p:nvPr/>
          </p:nvSpPr>
          <p:spPr>
            <a:xfrm>
              <a:off x="3224057" y="6226278"/>
              <a:ext cx="540075" cy="184666"/>
            </a:xfrm>
            <a:prstGeom prst="rect">
              <a:avLst/>
            </a:prstGeom>
            <a:solidFill>
              <a:schemeClr val="accent6"/>
            </a:solidFill>
          </p:spPr>
          <p:txBody>
            <a:bodyPr wrap="square" lIns="0" tIns="0" rIns="0" bIns="0" rtlCol="0">
              <a:spAutoFit/>
            </a:bodyPr>
            <a:lstStyle/>
            <a:p>
              <a:pPr algn="ctr"/>
              <a:r>
                <a:rPr lang="en-US" sz="1200" dirty="0">
                  <a:solidFill>
                    <a:schemeClr val="bg1"/>
                  </a:solidFill>
                </a:rPr>
                <a:t>Other</a:t>
              </a:r>
            </a:p>
          </p:txBody>
        </p:sp>
      </p:grpSp>
      <p:sp>
        <p:nvSpPr>
          <p:cNvPr id="15" name="Rectangle 14">
            <a:extLst>
              <a:ext uri="{FF2B5EF4-FFF2-40B4-BE49-F238E27FC236}">
                <a16:creationId xmlns:a16="http://schemas.microsoft.com/office/drawing/2014/main" id="{0CE6064C-8A6A-43FA-BC46-EBA10AA599F9}"/>
              </a:ext>
            </a:extLst>
          </p:cNvPr>
          <p:cNvSpPr/>
          <p:nvPr/>
        </p:nvSpPr>
        <p:spPr bwMode="auto">
          <a:xfrm>
            <a:off x="7943025" y="5144305"/>
            <a:ext cx="2468562" cy="1395143"/>
          </a:xfrm>
          <a:prstGeom prst="rect">
            <a:avLst/>
          </a:prstGeom>
          <a:solidFill>
            <a:srgbClr val="D1DB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solidFill>
                  <a:srgbClr val="000000">
                    <a:hueOff val="0"/>
                    <a:satOff val="0"/>
                    <a:lumOff val="0"/>
                    <a:alphaOff val="0"/>
                  </a:srgbClr>
                </a:solidFill>
                <a:latin typeface="Segoe UI"/>
              </a:rPr>
              <a:t>With a fixed amount of memory, when the plan cache grows the buffer pool shrinks and vice-versa</a:t>
            </a:r>
          </a:p>
        </p:txBody>
      </p:sp>
    </p:spTree>
    <p:extLst>
      <p:ext uri="{BB962C8B-B14F-4D97-AF65-F5344CB8AC3E}">
        <p14:creationId xmlns:p14="http://schemas.microsoft.com/office/powerpoint/2010/main" val="34566301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features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204372133"/>
      </p:ext>
    </p:extLst>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Cache Contents</a:t>
            </a:r>
          </a:p>
        </p:txBody>
      </p:sp>
      <p:graphicFrame>
        <p:nvGraphicFramePr>
          <p:cNvPr id="5" name="Content Placeholder 4">
            <a:extLst>
              <a:ext uri="{FF2B5EF4-FFF2-40B4-BE49-F238E27FC236}">
                <a16:creationId xmlns:a16="http://schemas.microsoft.com/office/drawing/2014/main" id="{DBCA296B-3874-45F7-AB56-F74E5DE12643}"/>
              </a:ext>
            </a:extLst>
          </p:cNvPr>
          <p:cNvGraphicFramePr>
            <a:graphicFrameLocks noGrp="1"/>
          </p:cNvGraphicFramePr>
          <p:nvPr>
            <p:ph sz="quarter" idx="13"/>
            <p:extLst>
              <p:ext uri="{D42A27DB-BD31-4B8C-83A1-F6EECF244321}">
                <p14:modId xmlns:p14="http://schemas.microsoft.com/office/powerpoint/2010/main" val="3040313024"/>
              </p:ext>
            </p:extLst>
          </p:nvPr>
        </p:nvGraphicFramePr>
        <p:xfrm>
          <a:off x="655637" y="904543"/>
          <a:ext cx="10880726" cy="5479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6663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0302-7393-441A-806F-F4B48A6F0315}"/>
              </a:ext>
            </a:extLst>
          </p:cNvPr>
          <p:cNvSpPr>
            <a:spLocks noGrp="1"/>
          </p:cNvSpPr>
          <p:nvPr>
            <p:ph type="title"/>
          </p:nvPr>
        </p:nvSpPr>
        <p:spPr/>
        <p:txBody>
          <a:bodyPr/>
          <a:lstStyle/>
          <a:p>
            <a:r>
              <a:rPr lang="en-US" dirty="0"/>
              <a:t>Dynamic Management Objects</a:t>
            </a:r>
          </a:p>
        </p:txBody>
      </p:sp>
      <p:graphicFrame>
        <p:nvGraphicFramePr>
          <p:cNvPr id="5" name="Content Placeholder 4">
            <a:extLst>
              <a:ext uri="{FF2B5EF4-FFF2-40B4-BE49-F238E27FC236}">
                <a16:creationId xmlns:a16="http://schemas.microsoft.com/office/drawing/2014/main" id="{AEA6DA8A-3FA6-41CB-BD83-973312B2FA9E}"/>
              </a:ext>
            </a:extLst>
          </p:cNvPr>
          <p:cNvGraphicFramePr>
            <a:graphicFrameLocks noGrp="1"/>
          </p:cNvGraphicFramePr>
          <p:nvPr>
            <p:ph sz="quarter" idx="13"/>
            <p:extLst>
              <p:ext uri="{D42A27DB-BD31-4B8C-83A1-F6EECF244321}">
                <p14:modId xmlns:p14="http://schemas.microsoft.com/office/powerpoint/2010/main" val="2580206779"/>
              </p:ext>
            </p:extLst>
          </p:nvPr>
        </p:nvGraphicFramePr>
        <p:xfrm>
          <a:off x="655638" y="969484"/>
          <a:ext cx="10880725" cy="52582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3870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8F92A-0E0E-4D3B-A08D-A4B1353FA7F2}"/>
              </a:ext>
            </a:extLst>
          </p:cNvPr>
          <p:cNvSpPr>
            <a:spLocks noGrp="1"/>
          </p:cNvSpPr>
          <p:nvPr>
            <p:ph type="title"/>
          </p:nvPr>
        </p:nvSpPr>
        <p:spPr>
          <a:xfrm>
            <a:off x="679269" y="320040"/>
            <a:ext cx="10857094" cy="461665"/>
          </a:xfrm>
        </p:spPr>
        <p:txBody>
          <a:bodyPr/>
          <a:lstStyle/>
          <a:p>
            <a:r>
              <a:rPr lang="en-US" dirty="0"/>
              <a:t>Relationships between DMOs</a:t>
            </a:r>
          </a:p>
        </p:txBody>
      </p:sp>
      <p:sp>
        <p:nvSpPr>
          <p:cNvPr id="5" name="Rectangle 4">
            <a:extLst>
              <a:ext uri="{FF2B5EF4-FFF2-40B4-BE49-F238E27FC236}">
                <a16:creationId xmlns:a16="http://schemas.microsoft.com/office/drawing/2014/main" id="{69B73290-F650-4355-A653-17468CE10FAD}"/>
              </a:ext>
            </a:extLst>
          </p:cNvPr>
          <p:cNvSpPr/>
          <p:nvPr/>
        </p:nvSpPr>
        <p:spPr bwMode="auto">
          <a:xfrm>
            <a:off x="4790921" y="1328109"/>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t>sys.dm_exec_cached_plan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53A92EB-C277-423B-BE0F-7A9BFA432B0B}"/>
              </a:ext>
            </a:extLst>
          </p:cNvPr>
          <p:cNvSpPr/>
          <p:nvPr/>
        </p:nvSpPr>
        <p:spPr bwMode="auto">
          <a:xfrm>
            <a:off x="3263041" y="4582232"/>
            <a:ext cx="2610157" cy="838200"/>
          </a:xfrm>
          <a:prstGeom prst="rect">
            <a:avLst/>
          </a:prstGeom>
          <a:solidFill>
            <a:srgbClr val="3B5AC4"/>
          </a:solidFill>
          <a:ln>
            <a:solidFill>
              <a:srgbClr val="3B5A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a:r>
              <a:rPr lang="en-US" sz="1400" dirty="0"/>
              <a:t>sys.dm_exec_query_plan()</a:t>
            </a:r>
          </a:p>
        </p:txBody>
      </p:sp>
      <p:sp>
        <p:nvSpPr>
          <p:cNvPr id="7" name="Rectangle 6">
            <a:extLst>
              <a:ext uri="{FF2B5EF4-FFF2-40B4-BE49-F238E27FC236}">
                <a16:creationId xmlns:a16="http://schemas.microsoft.com/office/drawing/2014/main" id="{B1085922-86B0-4E99-B4C0-255ED11E6C2C}"/>
              </a:ext>
            </a:extLst>
          </p:cNvPr>
          <p:cNvSpPr/>
          <p:nvPr/>
        </p:nvSpPr>
        <p:spPr bwMode="auto">
          <a:xfrm>
            <a:off x="6508686" y="4582232"/>
            <a:ext cx="2610157" cy="838200"/>
          </a:xfrm>
          <a:prstGeom prst="rect">
            <a:avLst/>
          </a:prstGeom>
          <a:solidFill>
            <a:schemeClr val="accent5"/>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a:r>
              <a:rPr lang="en-US" sz="1400" dirty="0"/>
              <a:t>sys.dm_exec_sql_text()</a:t>
            </a:r>
          </a:p>
        </p:txBody>
      </p:sp>
      <p:sp>
        <p:nvSpPr>
          <p:cNvPr id="10" name="Rectangle 9">
            <a:extLst>
              <a:ext uri="{FF2B5EF4-FFF2-40B4-BE49-F238E27FC236}">
                <a16:creationId xmlns:a16="http://schemas.microsoft.com/office/drawing/2014/main" id="{F3C464DF-700D-4809-B529-1A93FB74381A}"/>
              </a:ext>
            </a:extLst>
          </p:cNvPr>
          <p:cNvSpPr/>
          <p:nvPr/>
        </p:nvSpPr>
        <p:spPr bwMode="auto">
          <a:xfrm>
            <a:off x="4790921" y="2874358"/>
            <a:ext cx="2610157" cy="838200"/>
          </a:xfrm>
          <a:prstGeom prst="rect">
            <a:avLst/>
          </a:prstGeom>
          <a:solidFill>
            <a:srgbClr val="2A97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t>sys.dm_exec_query_stat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B0C09F7F-86C9-450E-B473-3F57068ACE6A}"/>
              </a:ext>
            </a:extLst>
          </p:cNvPr>
          <p:cNvCxnSpPr>
            <a:cxnSpLocks/>
            <a:stCxn id="5" idx="2"/>
            <a:endCxn id="10" idx="0"/>
          </p:cNvCxnSpPr>
          <p:nvPr/>
        </p:nvCxnSpPr>
        <p:spPr>
          <a:xfrm>
            <a:off x="6096000" y="2166309"/>
            <a:ext cx="0" cy="70804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F98BEE3-56E8-42C2-8A79-A971C558FF85}"/>
              </a:ext>
            </a:extLst>
          </p:cNvPr>
          <p:cNvCxnSpPr>
            <a:cxnSpLocks/>
            <a:stCxn id="10" idx="2"/>
            <a:endCxn id="6" idx="0"/>
          </p:cNvCxnSpPr>
          <p:nvPr/>
        </p:nvCxnSpPr>
        <p:spPr>
          <a:xfrm flipH="1">
            <a:off x="4568120" y="3712558"/>
            <a:ext cx="1527880"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62FF271-BCCD-4328-91F7-DEEEA42DF968}"/>
              </a:ext>
            </a:extLst>
          </p:cNvPr>
          <p:cNvCxnSpPr>
            <a:cxnSpLocks/>
            <a:stCxn id="10" idx="2"/>
            <a:endCxn id="7" idx="0"/>
          </p:cNvCxnSpPr>
          <p:nvPr/>
        </p:nvCxnSpPr>
        <p:spPr>
          <a:xfrm>
            <a:off x="6096000" y="3712558"/>
            <a:ext cx="1717765"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834C5F4-7343-45AE-A831-1653AC98B2DC}"/>
              </a:ext>
            </a:extLst>
          </p:cNvPr>
          <p:cNvSpPr txBox="1"/>
          <p:nvPr/>
        </p:nvSpPr>
        <p:spPr>
          <a:xfrm>
            <a:off x="4790921" y="4051581"/>
            <a:ext cx="1295400"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p:txBody>
      </p:sp>
      <p:sp>
        <p:nvSpPr>
          <p:cNvPr id="38" name="TextBox 37">
            <a:extLst>
              <a:ext uri="{FF2B5EF4-FFF2-40B4-BE49-F238E27FC236}">
                <a16:creationId xmlns:a16="http://schemas.microsoft.com/office/drawing/2014/main" id="{021B8E0D-6A61-4B6F-B06B-B74393601C17}"/>
              </a:ext>
            </a:extLst>
          </p:cNvPr>
          <p:cNvSpPr txBox="1"/>
          <p:nvPr/>
        </p:nvSpPr>
        <p:spPr>
          <a:xfrm>
            <a:off x="6487292" y="3947689"/>
            <a:ext cx="1295400"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a:p>
            <a:pPr algn="ctr"/>
            <a:r>
              <a:rPr lang="en-US" sz="1400" i="1" dirty="0">
                <a:gradFill>
                  <a:gsLst>
                    <a:gs pos="2917">
                      <a:schemeClr val="tx1"/>
                    </a:gs>
                    <a:gs pos="30000">
                      <a:schemeClr val="tx1"/>
                    </a:gs>
                  </a:gsLst>
                  <a:lin ang="5400000" scaled="0"/>
                </a:gradFill>
              </a:rPr>
              <a:t>or </a:t>
            </a:r>
            <a:r>
              <a:rPr lang="en-US" sz="1400" dirty="0">
                <a:gradFill>
                  <a:gsLst>
                    <a:gs pos="2917">
                      <a:schemeClr val="tx1"/>
                    </a:gs>
                    <a:gs pos="30000">
                      <a:schemeClr val="tx1"/>
                    </a:gs>
                  </a:gsLst>
                  <a:lin ang="5400000" scaled="0"/>
                </a:gradFill>
              </a:rPr>
              <a:t>sql_handle</a:t>
            </a:r>
          </a:p>
        </p:txBody>
      </p:sp>
      <p:sp>
        <p:nvSpPr>
          <p:cNvPr id="43" name="TextBox 42">
            <a:extLst>
              <a:ext uri="{FF2B5EF4-FFF2-40B4-BE49-F238E27FC236}">
                <a16:creationId xmlns:a16="http://schemas.microsoft.com/office/drawing/2014/main" id="{209C18E2-F59B-4654-80C0-22A61F51B0EC}"/>
              </a:ext>
            </a:extLst>
          </p:cNvPr>
          <p:cNvSpPr txBox="1"/>
          <p:nvPr/>
        </p:nvSpPr>
        <p:spPr>
          <a:xfrm>
            <a:off x="5511990" y="2368073"/>
            <a:ext cx="1295400"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p:txBody>
      </p:sp>
    </p:spTree>
    <p:extLst>
      <p:ext uri="{BB962C8B-B14F-4D97-AF65-F5344CB8AC3E}">
        <p14:creationId xmlns:p14="http://schemas.microsoft.com/office/powerpoint/2010/main" val="2077511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C42A160-080E-4178-8FDB-B5422D4D778A}">
  <ds:schemaRefs>
    <ds:schemaRef ds:uri="Strauss.PersonalizationDefinition"/>
  </ds:schemaRefs>
</ds:datastoreItem>
</file>

<file path=customXml/itemProps10.xml><?xml version="1.0" encoding="utf-8"?>
<ds:datastoreItem xmlns:ds="http://schemas.openxmlformats.org/officeDocument/2006/customXml" ds:itemID="{B0A3372C-9592-4D4E-9A34-D91EE0E6298E}">
  <ds:schemaRefs>
    <ds:schemaRef ds:uri="Strauss.PersonalizationDefinition"/>
  </ds:schemaRefs>
</ds:datastoreItem>
</file>

<file path=customXml/itemProps11.xml><?xml version="1.0" encoding="utf-8"?>
<ds:datastoreItem xmlns:ds="http://schemas.openxmlformats.org/officeDocument/2006/customXml" ds:itemID="{8AD6BF40-3ADC-4791-968A-6BAEB7E0A0C4}">
  <ds:schemaRefs>
    <ds:schemaRef ds:uri="Strauss.PersonalizationDefinition"/>
  </ds:schemaRefs>
</ds:datastoreItem>
</file>

<file path=customXml/itemProps12.xml><?xml version="1.0" encoding="utf-8"?>
<ds:datastoreItem xmlns:ds="http://schemas.openxmlformats.org/officeDocument/2006/customXml" ds:itemID="{B523F2EC-C550-4560-A22A-BA190776B792}">
  <ds:schemaRefs>
    <ds:schemaRef ds:uri="Strauss.PersonalizationDefinition"/>
  </ds:schemaRefs>
</ds:datastoreItem>
</file>

<file path=customXml/itemProps13.xml><?xml version="1.0" encoding="utf-8"?>
<ds:datastoreItem xmlns:ds="http://schemas.openxmlformats.org/officeDocument/2006/customXml" ds:itemID="{47E2A261-000D-4B37-AF2E-BA876FDD4E90}">
  <ds:schemaRefs>
    <ds:schemaRef ds:uri="Strauss.PersonalizationDefinition"/>
  </ds:schemaRefs>
</ds:datastoreItem>
</file>

<file path=customXml/itemProps2.xml><?xml version="1.0" encoding="utf-8"?>
<ds:datastoreItem xmlns:ds="http://schemas.openxmlformats.org/officeDocument/2006/customXml" ds:itemID="{75C05EC8-D295-4080-807A-6EA8C339A657}">
  <ds:schemaRefs>
    <ds:schemaRef ds:uri="Strauss.PersonalizationDefinition"/>
  </ds:schemaRefs>
</ds:datastoreItem>
</file>

<file path=customXml/itemProps3.xml><?xml version="1.0" encoding="utf-8"?>
<ds:datastoreItem xmlns:ds="http://schemas.openxmlformats.org/officeDocument/2006/customXml" ds:itemID="{9EEC7FED-AC7D-45C9-8F29-C2C8A7233C3D}">
  <ds:schemaRefs>
    <ds:schemaRef ds:uri="Strauss.PersonalizationDefinition"/>
  </ds:schemaRefs>
</ds:datastoreItem>
</file>

<file path=customXml/itemProps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5.xml><?xml version="1.0" encoding="utf-8"?>
<ds:datastoreItem xmlns:ds="http://schemas.openxmlformats.org/officeDocument/2006/customXml" ds:itemID="{BD90A828-54F3-4D71-A608-75D2EF8005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7.xml><?xml version="1.0" encoding="utf-8"?>
<ds:datastoreItem xmlns:ds="http://schemas.openxmlformats.org/officeDocument/2006/customXml" ds:itemID="{9CFE9A22-C3CB-45B7-B365-FE59FD6BB66B}">
  <ds:schemaRefs>
    <ds:schemaRef ds:uri="Strauss.PersonalizationDefinition"/>
  </ds:schemaRefs>
</ds:datastoreItem>
</file>

<file path=customXml/itemProps8.xml><?xml version="1.0" encoding="utf-8"?>
<ds:datastoreItem xmlns:ds="http://schemas.openxmlformats.org/officeDocument/2006/customXml" ds:itemID="{CD086AF5-CCD3-41C8-B98A-2B159789D38E}">
  <ds:schemaRefs>
    <ds:schemaRef ds:uri="Strauss.PersonalizationDefinition"/>
  </ds:schemaRefs>
</ds:datastoreItem>
</file>

<file path=customXml/itemProps9.xml><?xml version="1.0" encoding="utf-8"?>
<ds:datastoreItem xmlns:ds="http://schemas.openxmlformats.org/officeDocument/2006/customXml" ds:itemID="{EBCC33FC-94BB-4B1D-A4C6-D2E6A3A4B1F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Workshop</Template>
  <TotalTime>2049</TotalTime>
  <Words>10673</Words>
  <Application>Microsoft Office PowerPoint</Application>
  <PresentationFormat>Widescreen</PresentationFormat>
  <Paragraphs>959</Paragraphs>
  <Slides>65</Slides>
  <Notes>48</Notes>
  <HiddenSlides>1</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65</vt:i4>
      </vt:variant>
    </vt:vector>
  </HeadingPairs>
  <TitlesOfParts>
    <vt:vector size="75" baseType="lpstr">
      <vt:lpstr>Arial</vt:lpstr>
      <vt:lpstr>Calibri</vt:lpstr>
      <vt:lpstr>Consolas</vt:lpstr>
      <vt:lpstr>Lucida Console</vt:lpstr>
      <vt:lpstr>Segoe UI</vt:lpstr>
      <vt:lpstr>Segoe UI Light</vt:lpstr>
      <vt:lpstr>Segoe UI Semibold</vt:lpstr>
      <vt:lpstr>Wingdings</vt:lpstr>
      <vt:lpstr>Workshop</vt:lpstr>
      <vt:lpstr>1_Dark Blue</vt:lpstr>
      <vt:lpstr>SQL Server Plan Caching and Query Store</vt:lpstr>
      <vt:lpstr>Disclaimer</vt:lpstr>
      <vt:lpstr>Learning Units covered in this Module</vt:lpstr>
      <vt:lpstr>Lesson 1: SQL Server Plan Cache </vt:lpstr>
      <vt:lpstr>Objectives</vt:lpstr>
      <vt:lpstr>The Plan Cache</vt:lpstr>
      <vt:lpstr>Plan Cache Contents</vt:lpstr>
      <vt:lpstr>Dynamic Management Objects</vt:lpstr>
      <vt:lpstr>Relationships between DMOs</vt:lpstr>
      <vt:lpstr>Captured Metrics (sys.dm_exec_query_stats ) </vt:lpstr>
      <vt:lpstr>Mining the Plan Cache with T-SQL</vt:lpstr>
      <vt:lpstr>Cache Plan Bloat </vt:lpstr>
      <vt:lpstr>Clearing the Plan Cache </vt:lpstr>
      <vt:lpstr>Clearing the Plan Cache </vt:lpstr>
      <vt:lpstr>Plan Reuse</vt:lpstr>
      <vt:lpstr>Plan Reuse</vt:lpstr>
      <vt:lpstr>Parameter Sniffing</vt:lpstr>
      <vt:lpstr>Demonstration</vt:lpstr>
      <vt:lpstr>Questions?</vt:lpstr>
      <vt:lpstr>Knowledge Check</vt:lpstr>
      <vt:lpstr>Lesson 2: SQL Server Query Store </vt:lpstr>
      <vt:lpstr>Objectives</vt:lpstr>
      <vt:lpstr>Introducing the Query Store</vt:lpstr>
      <vt:lpstr>Why use Query Store?</vt:lpstr>
      <vt:lpstr>How Query Store collects and stores data</vt:lpstr>
      <vt:lpstr>Query Store Operation Modes</vt:lpstr>
      <vt:lpstr>Query Store Monitoring Settings</vt:lpstr>
      <vt:lpstr>Query Store Monitoring Settings</vt:lpstr>
      <vt:lpstr>Query Store Retention Settings</vt:lpstr>
      <vt:lpstr>Query Store Retention Settings</vt:lpstr>
      <vt:lpstr>Query Store Retention Settings</vt:lpstr>
      <vt:lpstr>Query Store Retention Settings</vt:lpstr>
      <vt:lpstr>Query Store Retention Settings</vt:lpstr>
      <vt:lpstr>Query Store Retention Settings</vt:lpstr>
      <vt:lpstr>Query Store Capture Policy Settings</vt:lpstr>
      <vt:lpstr>Query Store Capture Policy Settings</vt:lpstr>
      <vt:lpstr>Query Store Capture Policy Settings</vt:lpstr>
      <vt:lpstr>Query Store Capture Policy Settings</vt:lpstr>
      <vt:lpstr>Purge Query Data</vt:lpstr>
      <vt:lpstr>Built-in Reports </vt:lpstr>
      <vt:lpstr>Establishing a Baseline </vt:lpstr>
      <vt:lpstr>Force Plan</vt:lpstr>
      <vt:lpstr>Plan Compare </vt:lpstr>
      <vt:lpstr>Query Store Catalog Views</vt:lpstr>
      <vt:lpstr>Runtime Metrics and Statistics</vt:lpstr>
      <vt:lpstr>Using Query Store Catalog Views</vt:lpstr>
      <vt:lpstr>Query Store read replica support for Availability Groups</vt:lpstr>
      <vt:lpstr>Query Store hints</vt:lpstr>
      <vt:lpstr>Query Store hints – Use Cases</vt:lpstr>
      <vt:lpstr>Setting, clearing, and viewing query store hints.</vt:lpstr>
      <vt:lpstr>Troubleshooting Using the Query Store</vt:lpstr>
      <vt:lpstr>Questions?</vt:lpstr>
      <vt:lpstr>Knowledge Check</vt:lpstr>
      <vt:lpstr>Questions?</vt:lpstr>
      <vt:lpstr>Lesson 3: SQL Server Intelligent Query Processing</vt:lpstr>
      <vt:lpstr>Objectives</vt:lpstr>
      <vt:lpstr>A History of Intelligent Query Processing</vt:lpstr>
      <vt:lpstr>Adaptive Query Processing (2017)</vt:lpstr>
      <vt:lpstr>Intelligent Query Processing (2019)</vt:lpstr>
      <vt:lpstr>Intelligent Query Processing (2022)</vt:lpstr>
      <vt:lpstr>Enabling and Disabling – Instance Level</vt:lpstr>
      <vt:lpstr>Enabling and Disabling – Database Level</vt:lpstr>
      <vt:lpstr>Enabling and Disabling – Statement Level</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32</cp:revision>
  <dcterms:created xsi:type="dcterms:W3CDTF">2019-08-12T16:24:54Z</dcterms:created>
  <dcterms:modified xsi:type="dcterms:W3CDTF">2024-01-20T11:1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